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917" r:id="rId4"/>
  </p:sldMasterIdLst>
  <p:notesMasterIdLst>
    <p:notesMasterId r:id="rId13"/>
  </p:notesMasterIdLst>
  <p:handoutMasterIdLst>
    <p:handoutMasterId r:id="rId14"/>
  </p:handoutMasterIdLst>
  <p:sldIdLst>
    <p:sldId id="368" r:id="rId5"/>
    <p:sldId id="14638" r:id="rId6"/>
    <p:sldId id="14630" r:id="rId7"/>
    <p:sldId id="14635" r:id="rId8"/>
    <p:sldId id="14633" r:id="rId9"/>
    <p:sldId id="14641" r:id="rId10"/>
    <p:sldId id="14640" r:id="rId11"/>
    <p:sldId id="14639" r:id="rId12"/>
  </p:sldIdLst>
  <p:sldSz cx="12192000" cy="6858000"/>
  <p:notesSz cx="7104063" cy="10234613"/>
  <p:embeddedFontLst>
    <p:embeddedFont>
      <p:font typeface="Calibri" panose="020F0502020204030204" pitchFamily="34" charset="0"/>
      <p:regular r:id="rId15"/>
      <p:bold r:id="rId16"/>
      <p:italic r:id="rId17"/>
      <p:boldItalic r:id="rId18"/>
    </p:embeddedFont>
    <p:embeddedFont>
      <p:font typeface="Calibri Light" panose="020F0302020204030204" pitchFamily="34" charset="0"/>
      <p:regular r:id="rId19"/>
      <p:italic r:id="rId20"/>
    </p:embeddedFont>
    <p:embeddedFont>
      <p:font typeface="Fira Sans" panose="020B0503050000020004" pitchFamily="34" charset="0"/>
      <p:regular r:id="rId21"/>
      <p:bold r:id="rId22"/>
      <p:italic r:id="rId23"/>
      <p:boldItalic r:id="rId24"/>
    </p:embeddedFont>
    <p:embeddedFont>
      <p:font typeface="Fira Sans Medium" panose="020B0503050000020004" pitchFamily="34" charset="0"/>
      <p:regular r:id="rId25"/>
      <p:italic r:id="rId26"/>
    </p:embeddedFont>
    <p:embeddedFont>
      <p:font typeface="Fira Sans SemiBold" panose="020B0503050000020004" pitchFamily="34" charset="0"/>
      <p:bold r:id="rId27"/>
      <p:boldItalic r:id="rId28"/>
    </p:embeddedFont>
    <p:embeddedFont>
      <p:font typeface="Inter" panose="02000503000000020004" pitchFamily="2" charset="0"/>
      <p:regular r:id="rId29"/>
      <p:bold r:id="rId30"/>
      <p:italic r:id="rId31"/>
      <p:boldItalic r:id="rId32"/>
    </p:embeddedFont>
    <p:embeddedFont>
      <p:font typeface="Inter Medium" panose="02000503000000020004" pitchFamily="2" charset="0"/>
      <p:regular r:id="rId33"/>
      <p:italic r:id="rId34"/>
    </p:embeddedFont>
  </p:embeddedFontLst>
  <p:custDataLst>
    <p:tags r:id="rId3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1B5EBA9B-7EB8-4DD8-8B2E-0D9E3BB26A66}">
          <p14:sldIdLst>
            <p14:sldId id="368"/>
            <p14:sldId id="14638"/>
            <p14:sldId id="14630"/>
            <p14:sldId id="14635"/>
            <p14:sldId id="14633"/>
            <p14:sldId id="14641"/>
            <p14:sldId id="14640"/>
            <p14:sldId id="14639"/>
          </p14:sldIdLst>
        </p14:section>
        <p14:section name="Backup" id="{E8C4DB05-6D45-4E6E-8DF6-9B5A23506823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A9BA371-CE79-994C-116C-1C52F0F8D430}" name="Buchberger Ulrich 6339 ED" initials="BU6E" userId="S::smlza@s-mxs.net::604aee62-d7a9-4928-8e2f-585ffedee6a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A365"/>
    <a:srgbClr val="A9DDF6"/>
    <a:srgbClr val="AAAAAA"/>
    <a:srgbClr val="696969"/>
    <a:srgbClr val="30475E"/>
    <a:srgbClr val="DAE9BB"/>
    <a:srgbClr val="A4DDCE"/>
    <a:srgbClr val="9E9871"/>
    <a:srgbClr val="3F3F3F"/>
    <a:srgbClr val="8FDAC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12C8C85-51F0-491E-9774-3900AFEF0FD7}" styleName="Helle Formatvorlage 2 - Akz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120" autoAdjust="0"/>
    <p:restoredTop sz="84884" autoAdjust="0"/>
  </p:normalViewPr>
  <p:slideViewPr>
    <p:cSldViewPr snapToGrid="0" showGuides="1">
      <p:cViewPr varScale="1">
        <p:scale>
          <a:sx n="95" d="100"/>
          <a:sy n="95" d="100"/>
        </p:scale>
        <p:origin x="66" y="90"/>
      </p:cViewPr>
      <p:guideLst/>
    </p:cSldViewPr>
  </p:slideViewPr>
  <p:outlineViewPr>
    <p:cViewPr>
      <p:scale>
        <a:sx n="50" d="100"/>
        <a:sy n="50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36" d="100"/>
          <a:sy n="136" d="100"/>
        </p:scale>
        <p:origin x="4768" y="2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notesMaster" Target="notesMasters/notesMaster1.xml"/><Relationship Id="rId18" Type="http://schemas.openxmlformats.org/officeDocument/2006/relationships/font" Target="fonts/font4.fntdata"/><Relationship Id="rId26" Type="http://schemas.openxmlformats.org/officeDocument/2006/relationships/font" Target="fonts/font12.fntdata"/><Relationship Id="rId39" Type="http://schemas.openxmlformats.org/officeDocument/2006/relationships/tableStyles" Target="tableStyles.xml"/><Relationship Id="rId21" Type="http://schemas.openxmlformats.org/officeDocument/2006/relationships/font" Target="fonts/font7.fntdata"/><Relationship Id="rId34" Type="http://schemas.openxmlformats.org/officeDocument/2006/relationships/font" Target="fonts/font20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font" Target="fonts/font3.fntdata"/><Relationship Id="rId25" Type="http://schemas.openxmlformats.org/officeDocument/2006/relationships/font" Target="fonts/font11.fntdata"/><Relationship Id="rId33" Type="http://schemas.openxmlformats.org/officeDocument/2006/relationships/font" Target="fonts/font19.fntdata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29" Type="http://schemas.openxmlformats.org/officeDocument/2006/relationships/font" Target="fonts/font15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10.fntdata"/><Relationship Id="rId32" Type="http://schemas.openxmlformats.org/officeDocument/2006/relationships/font" Target="fonts/font18.fntdata"/><Relationship Id="rId37" Type="http://schemas.openxmlformats.org/officeDocument/2006/relationships/viewProps" Target="viewProps.xml"/><Relationship Id="rId40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font" Target="fonts/font1.fntdata"/><Relationship Id="rId23" Type="http://schemas.openxmlformats.org/officeDocument/2006/relationships/font" Target="fonts/font9.fntdata"/><Relationship Id="rId28" Type="http://schemas.openxmlformats.org/officeDocument/2006/relationships/font" Target="fonts/font14.fntdata"/><Relationship Id="rId36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font" Target="fonts/font5.fntdata"/><Relationship Id="rId31" Type="http://schemas.openxmlformats.org/officeDocument/2006/relationships/font" Target="fonts/font17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Relationship Id="rId22" Type="http://schemas.openxmlformats.org/officeDocument/2006/relationships/font" Target="fonts/font8.fntdata"/><Relationship Id="rId27" Type="http://schemas.openxmlformats.org/officeDocument/2006/relationships/font" Target="fonts/font13.fntdata"/><Relationship Id="rId30" Type="http://schemas.openxmlformats.org/officeDocument/2006/relationships/font" Target="fonts/font16.fntdata"/><Relationship Id="rId35" Type="http://schemas.openxmlformats.org/officeDocument/2006/relationships/tags" Target="tags/tag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106272C7-C209-E7D2-E48E-A8E606B7971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1E9BAE-14E1-C27C-29A1-B36B8C46E60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B619929D-8DEE-4193-A579-95F8BADBBC10}" type="datetimeFigureOut">
              <a:rPr lang="de-DE" smtClean="0"/>
              <a:t>16.10.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D4F2B47-7F50-EB12-AC1C-A75AE249D2C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075DC6E-462C-BE45-E6EC-85E34865D64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921468E1-4B9C-4430-96BE-EF27189697D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8434414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3224" userDrawn="1">
          <p15:clr>
            <a:srgbClr val="F26B43"/>
          </p15:clr>
        </p15:guide>
        <p15:guide id="2" pos="2238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2F7C1B06-E177-4437-B611-C3C2D1A2EF85}" type="datetimeFigureOut">
              <a:rPr lang="de-DE" smtClean="0"/>
              <a:t>16.10.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38CE6631-D942-4CE8-AF59-DF0AC45E850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9044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3224" userDrawn="1">
          <p15:clr>
            <a:srgbClr val="F26B43"/>
          </p15:clr>
        </p15:guide>
        <p15:guide id="2" pos="2238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CE6631-D942-4CE8-AF59-DF0AC45E8509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74182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CE6631-D942-4CE8-AF59-DF0AC45E8509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305574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1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3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4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6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5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7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8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9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0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1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2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3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796D4E-865C-6E92-BB9A-5ABF0939105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3910CE9-E764-04D4-C2F5-ADD886B2EF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A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276BD4-42E7-ABA9-7C0C-C9E2299407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13E91-7709-4229-B074-D87646D3F85E}" type="datetime1">
              <a:rPr lang="de-DE" smtClean="0"/>
              <a:t>16.10.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730F48-D3F1-A841-2491-1D98C40CFA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gility &amp; Innovation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80885D-E96B-8987-ED5E-67261BFC54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15372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6B8848-4F02-2AB5-ECBA-9253979F86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EA4D81B-7EBF-7545-A835-6CFC06E82E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A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38B6E6-2491-06F9-7DC2-3C1C592328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7188B0-A5AD-4DE3-B427-BA23005A35D7}" type="datetime1">
              <a:rPr lang="de-DE" smtClean="0"/>
              <a:t>16.10.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98F39E-65AE-DE67-6596-A38EC9ED36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gility &amp; Innovation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43C5E9-DFCE-BA70-FC29-DD71581F7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799782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41CE515-4DCF-0E90-1B42-6F79D90398E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CDFA02C-9FEA-476D-E20C-F633E059268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A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D6615C-F963-1FEE-95A7-4FE65DB940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0C6085-C376-4F27-A2FB-002817B2D4F6}" type="datetime1">
              <a:rPr lang="de-DE" smtClean="0"/>
              <a:t>16.10.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D6160E-5534-C110-4B04-74A0C3704A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gility &amp; Innovation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830543-A683-7525-8DB6-E45867684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51054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v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48367083-7057-474B-A56E-910565D911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87225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48367083-7057-474B-A56E-910565D911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 descr="Chatbots als intelligente Assistenten - Onlineportal von IT Management">
            <a:extLst>
              <a:ext uri="{FF2B5EF4-FFF2-40B4-BE49-F238E27FC236}">
                <a16:creationId xmlns:a16="http://schemas.microsoft.com/office/drawing/2014/main" id="{501CD189-7EA1-4AAA-961C-FC40CA91052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4E3166E-39E3-09B6-B1B6-3EE77C80490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5937" y="3829049"/>
            <a:ext cx="11160125" cy="1571626"/>
          </a:xfrm>
        </p:spPr>
        <p:txBody>
          <a:bodyPr vert="horz" anchor="t"/>
          <a:lstStyle>
            <a:lvl1pPr algn="l"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40A2384-9864-74FC-45AD-C2FB6D3EB4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5938" y="3428999"/>
            <a:ext cx="5022713" cy="254727"/>
          </a:xfrm>
        </p:spPr>
        <p:txBody>
          <a:bodyPr wrap="none" anchor="b"/>
          <a:lstStyle>
            <a:lvl1pPr marL="0" indent="0" algn="l">
              <a:spcAft>
                <a:spcPts val="0"/>
              </a:spcAft>
              <a:buNone/>
              <a:defRPr sz="1200" cap="all" spc="50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Optional topline</a:t>
            </a:r>
            <a:endParaRPr lang="en-GB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8011D2C7-9761-D25D-5D65-69F3A9F033E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5936" y="5769829"/>
            <a:ext cx="6948489" cy="254727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</a:lstStyle>
          <a:p>
            <a:pPr algn="l"/>
            <a:fld id="{D9E7F1A6-D046-4744-B4FC-6B6C9C5AA901}" type="datetime1">
              <a:rPr lang="de-DE" smtClean="0"/>
              <a:t>16.10.23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1AC5B05-E1E7-496A-9493-44909AC364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6" y="5545998"/>
            <a:ext cx="6948489" cy="211925"/>
          </a:xfrm>
        </p:spPr>
        <p:txBody>
          <a:bodyPr anchor="b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</a:lstStyle>
          <a:p>
            <a:pPr lvl="0"/>
            <a:r>
              <a:rPr lang="en-GB"/>
              <a:t>Author Name Surname</a:t>
            </a:r>
            <a:endParaRPr lang="en-GB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600439B-2E9A-3EE2-56BE-F5FD2E54CE6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5500" y="1171218"/>
            <a:ext cx="1740248" cy="829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4710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0D1F774-627A-41E5-85AE-19F6A8F3E4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4803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0D1F774-627A-41E5-85AE-19F6A8F3E4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5">
            <a:extLst>
              <a:ext uri="{FF2B5EF4-FFF2-40B4-BE49-F238E27FC236}">
                <a16:creationId xmlns:a16="http://schemas.microsoft.com/office/drawing/2014/main" id="{EE613EA3-BC16-E0A5-5957-7A5B2E2A4CC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4E3166E-39E3-09B6-B1B6-3EE77C80490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5937" y="3829049"/>
            <a:ext cx="11160125" cy="1571626"/>
          </a:xfrm>
        </p:spPr>
        <p:txBody>
          <a:bodyPr vert="horz" anchor="t"/>
          <a:lstStyle>
            <a:lvl1pPr algn="l"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40A2384-9864-74FC-45AD-C2FB6D3EB4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5938" y="3428999"/>
            <a:ext cx="5022713" cy="254727"/>
          </a:xfrm>
        </p:spPr>
        <p:txBody>
          <a:bodyPr wrap="none" anchor="b"/>
          <a:lstStyle>
            <a:lvl1pPr marL="0" indent="0" algn="l">
              <a:spcAft>
                <a:spcPts val="0"/>
              </a:spcAft>
              <a:buNone/>
              <a:defRPr sz="1200" cap="all" spc="50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Optional topline</a:t>
            </a:r>
            <a:endParaRPr lang="en-GB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8011D2C7-9761-D25D-5D65-69F3A9F033E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5936" y="5769829"/>
            <a:ext cx="6948489" cy="254727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</a:lstStyle>
          <a:p>
            <a:pPr algn="l"/>
            <a:fld id="{D63F32A7-7354-4BC5-AA7A-98DE8F063E03}" type="datetime1">
              <a:rPr lang="de-DE" smtClean="0"/>
              <a:t>16.10.23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1AC5B05-E1E7-496A-9493-44909AC364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6" y="5545998"/>
            <a:ext cx="6948489" cy="211925"/>
          </a:xfrm>
        </p:spPr>
        <p:txBody>
          <a:bodyPr anchor="b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</a:lstStyle>
          <a:p>
            <a:pPr lvl="0"/>
            <a:r>
              <a:rPr lang="en-GB"/>
              <a:t>Author Name Surname</a:t>
            </a:r>
            <a:endParaRPr lang="en-GB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600439B-2E9A-3EE2-56BE-F5FD2E54CE6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5500" y="1171218"/>
            <a:ext cx="1740248" cy="829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50135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 on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340BF1B-672D-4A2D-B41D-599A92F0D6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3051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340BF1B-672D-4A2D-B41D-599A92F0D6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4E3166E-39E3-09B6-B1B6-3EE77C80490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5937" y="3829049"/>
            <a:ext cx="11160125" cy="1571626"/>
          </a:xfrm>
        </p:spPr>
        <p:txBody>
          <a:bodyPr vert="horz" anchor="t"/>
          <a:lstStyle>
            <a:lvl1pPr algn="l">
              <a:defRPr sz="5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40A2384-9864-74FC-45AD-C2FB6D3EB4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5938" y="3428999"/>
            <a:ext cx="11160125" cy="254727"/>
          </a:xfrm>
        </p:spPr>
        <p:txBody>
          <a:bodyPr wrap="square" anchor="b"/>
          <a:lstStyle>
            <a:lvl1pPr marL="0" indent="0" algn="l">
              <a:spcAft>
                <a:spcPts val="0"/>
              </a:spcAft>
              <a:buNone/>
              <a:defRPr sz="1200" cap="all" spc="5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Optional topline</a:t>
            </a:r>
            <a:endParaRPr lang="en-GB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8011D2C7-9761-D25D-5D65-69F3A9F033E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5936" y="5769829"/>
            <a:ext cx="6948489" cy="254727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+mn-lt"/>
                <a:ea typeface="Inter Medium" panose="02000503000000020004" pitchFamily="2" charset="0"/>
              </a:defRPr>
            </a:lvl1pPr>
          </a:lstStyle>
          <a:p>
            <a:pPr algn="l"/>
            <a:fld id="{FD1FDE9D-C5E0-4335-A8A2-BB18181B877D}" type="datetime1">
              <a:rPr lang="de-DE" smtClean="0"/>
              <a:t>16.10.23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1AC5B05-E1E7-496A-9493-44909AC364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6" y="5545998"/>
            <a:ext cx="6948489" cy="211925"/>
          </a:xfrm>
        </p:spPr>
        <p:txBody>
          <a:bodyPr anchor="b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  <a:latin typeface="+mn-lt"/>
                <a:ea typeface="Inter Medium" panose="02000503000000020004" pitchFamily="2" charset="0"/>
              </a:defRPr>
            </a:lvl1pPr>
          </a:lstStyle>
          <a:p>
            <a:pPr lvl="0"/>
            <a:r>
              <a:rPr lang="en-GB" dirty="0"/>
              <a:t>Author Name Surnam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576799A-68D2-458D-9379-91479B6FED7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5500" y="1171218"/>
            <a:ext cx="1740248" cy="829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941231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 with image +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2789A79-FCE7-4EBC-9459-E2A90EC37A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0957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2789A79-FCE7-4EBC-9459-E2A90EC37A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065A178D-08CB-9453-06B7-0C7BC29FA7F7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4E3166E-39E3-09B6-B1B6-3EE77C80490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5938" y="3829049"/>
            <a:ext cx="5022714" cy="1571626"/>
          </a:xfrm>
        </p:spPr>
        <p:txBody>
          <a:bodyPr vert="horz" anchor="t"/>
          <a:lstStyle>
            <a:lvl1pPr algn="l">
              <a:defRPr sz="5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40A2384-9864-74FC-45AD-C2FB6D3EB4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5938" y="3428999"/>
            <a:ext cx="5022713" cy="254727"/>
          </a:xfrm>
        </p:spPr>
        <p:txBody>
          <a:bodyPr wrap="none" anchor="b"/>
          <a:lstStyle>
            <a:lvl1pPr marL="0" indent="0" algn="l">
              <a:spcAft>
                <a:spcPts val="0"/>
              </a:spcAft>
              <a:buNone/>
              <a:defRPr sz="1200" cap="all" spc="5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Optional topline</a:t>
            </a:r>
            <a:endParaRPr lang="en-GB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8011D2C7-9761-D25D-5D65-69F3A9F033E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5936" y="5769829"/>
            <a:ext cx="5022713" cy="254727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+mn-lt"/>
                <a:ea typeface="Inter Medium" panose="02000503000000020004" pitchFamily="2" charset="0"/>
              </a:defRPr>
            </a:lvl1pPr>
          </a:lstStyle>
          <a:p>
            <a:pPr algn="l"/>
            <a:fld id="{8FB9CD63-9E48-4301-BB02-8CBBDA0508FF}" type="datetime1">
              <a:rPr lang="de-DE" smtClean="0"/>
              <a:t>16.10.23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1AC5B05-E1E7-496A-9493-44909AC364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6" y="5545998"/>
            <a:ext cx="5022713" cy="211925"/>
          </a:xfrm>
        </p:spPr>
        <p:txBody>
          <a:bodyPr anchor="b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  <a:latin typeface="+mn-lt"/>
                <a:ea typeface="Inter Medium" panose="02000503000000020004" pitchFamily="2" charset="0"/>
              </a:defRPr>
            </a:lvl1pPr>
          </a:lstStyle>
          <a:p>
            <a:pPr lvl="0"/>
            <a:r>
              <a:rPr lang="en-GB"/>
              <a:t>Author Name Surname</a:t>
            </a:r>
            <a:endParaRPr lang="en-GB" dirty="0"/>
          </a:p>
        </p:txBody>
      </p:sp>
      <p:sp>
        <p:nvSpPr>
          <p:cNvPr id="13" name="Grafik 4">
            <a:extLst>
              <a:ext uri="{FF2B5EF4-FFF2-40B4-BE49-F238E27FC236}">
                <a16:creationId xmlns:a16="http://schemas.microsoft.com/office/drawing/2014/main" id="{57CEDD97-4111-11FA-FCA3-D766D00B3219}"/>
              </a:ext>
            </a:extLst>
          </p:cNvPr>
          <p:cNvSpPr/>
          <p:nvPr userDrawn="1"/>
        </p:nvSpPr>
        <p:spPr>
          <a:xfrm>
            <a:off x="0" y="1"/>
            <a:ext cx="11966894" cy="6246951"/>
          </a:xfrm>
          <a:custGeom>
            <a:avLst/>
            <a:gdLst>
              <a:gd name="connsiteX0" fmla="*/ 10754594 w 11966894"/>
              <a:gd name="connsiteY0" fmla="*/ 6246952 h 6246951"/>
              <a:gd name="connsiteX1" fmla="*/ 0 w 11966894"/>
              <a:gd name="connsiteY1" fmla="*/ 6246952 h 6246951"/>
              <a:gd name="connsiteX2" fmla="*/ 0 w 11966894"/>
              <a:gd name="connsiteY2" fmla="*/ 6208865 h 6246951"/>
              <a:gd name="connsiteX3" fmla="*/ 10754594 w 11966894"/>
              <a:gd name="connsiteY3" fmla="*/ 6208865 h 6246951"/>
              <a:gd name="connsiteX4" fmla="*/ 11928819 w 11966894"/>
              <a:gd name="connsiteY4" fmla="*/ 5033058 h 6246951"/>
              <a:gd name="connsiteX5" fmla="*/ 11928819 w 11966894"/>
              <a:gd name="connsiteY5" fmla="*/ 0 h 6246951"/>
              <a:gd name="connsiteX6" fmla="*/ 11966894 w 11966894"/>
              <a:gd name="connsiteY6" fmla="*/ 0 h 6246951"/>
              <a:gd name="connsiteX7" fmla="*/ 11966894 w 11966894"/>
              <a:gd name="connsiteY7" fmla="*/ 5033058 h 6246951"/>
              <a:gd name="connsiteX8" fmla="*/ 10754594 w 11966894"/>
              <a:gd name="connsiteY8" fmla="*/ 6246952 h 6246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966894" h="6246951">
                <a:moveTo>
                  <a:pt x="10754594" y="6246952"/>
                </a:moveTo>
                <a:lnTo>
                  <a:pt x="0" y="6246952"/>
                </a:lnTo>
                <a:lnTo>
                  <a:pt x="0" y="6208865"/>
                </a:lnTo>
                <a:lnTo>
                  <a:pt x="10754594" y="6208865"/>
                </a:lnTo>
                <a:cubicBezTo>
                  <a:pt x="11402068" y="6208865"/>
                  <a:pt x="11928819" y="5681392"/>
                  <a:pt x="11928819" y="5033058"/>
                </a:cubicBezTo>
                <a:lnTo>
                  <a:pt x="11928819" y="0"/>
                </a:lnTo>
                <a:lnTo>
                  <a:pt x="11966894" y="0"/>
                </a:lnTo>
                <a:lnTo>
                  <a:pt x="11966894" y="5033058"/>
                </a:lnTo>
                <a:cubicBezTo>
                  <a:pt x="11966894" y="5702403"/>
                  <a:pt x="11423059" y="6246952"/>
                  <a:pt x="10754594" y="6246952"/>
                </a:cubicBezTo>
                <a:close/>
              </a:path>
            </a:pathLst>
          </a:custGeom>
          <a:solidFill>
            <a:schemeClr val="bg1"/>
          </a:solidFill>
          <a:ln w="12687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4" name="Bildplatzhalter 5">
            <a:extLst>
              <a:ext uri="{FF2B5EF4-FFF2-40B4-BE49-F238E27FC236}">
                <a16:creationId xmlns:a16="http://schemas.microsoft.com/office/drawing/2014/main" id="{30537E7A-CA3C-4559-CCF8-29FAF9E6BF1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96000" y="-1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0 w 6096000"/>
              <a:gd name="connsiteY3" fmla="*/ 6858000 h 6858000"/>
              <a:gd name="connsiteX4" fmla="*/ 0 w 6096000"/>
              <a:gd name="connsiteY4" fmla="*/ 6246953 h 6858000"/>
              <a:gd name="connsiteX5" fmla="*/ 4658594 w 6096000"/>
              <a:gd name="connsiteY5" fmla="*/ 6246953 h 6858000"/>
              <a:gd name="connsiteX6" fmla="*/ 5870894 w 6096000"/>
              <a:gd name="connsiteY6" fmla="*/ 5033059 h 6858000"/>
              <a:gd name="connsiteX7" fmla="*/ 5870894 w 6096000"/>
              <a:gd name="connsiteY7" fmla="*/ 1 h 6858000"/>
              <a:gd name="connsiteX8" fmla="*/ 5832819 w 6096000"/>
              <a:gd name="connsiteY8" fmla="*/ 1 h 6858000"/>
              <a:gd name="connsiteX9" fmla="*/ 5832819 w 6096000"/>
              <a:gd name="connsiteY9" fmla="*/ 5033059 h 6858000"/>
              <a:gd name="connsiteX10" fmla="*/ 4658594 w 6096000"/>
              <a:gd name="connsiteY10" fmla="*/ 6208866 h 6858000"/>
              <a:gd name="connsiteX11" fmla="*/ 0 w 6096000"/>
              <a:gd name="connsiteY11" fmla="*/ 620886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lnTo>
                  <a:pt x="0" y="6246953"/>
                </a:lnTo>
                <a:lnTo>
                  <a:pt x="4658594" y="6246953"/>
                </a:lnTo>
                <a:cubicBezTo>
                  <a:pt x="5327059" y="6246953"/>
                  <a:pt x="5870894" y="5702404"/>
                  <a:pt x="5870894" y="5033059"/>
                </a:cubicBezTo>
                <a:lnTo>
                  <a:pt x="5870894" y="1"/>
                </a:lnTo>
                <a:lnTo>
                  <a:pt x="5832819" y="1"/>
                </a:lnTo>
                <a:lnTo>
                  <a:pt x="5832819" y="5033059"/>
                </a:lnTo>
                <a:cubicBezTo>
                  <a:pt x="5832819" y="5681393"/>
                  <a:pt x="5306068" y="6208866"/>
                  <a:pt x="4658594" y="6208866"/>
                </a:cubicBezTo>
                <a:lnTo>
                  <a:pt x="0" y="620886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 dirty="0"/>
              <a:t>Add image by clicking on symbol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E2FD49D0-5C18-4AB8-80A9-3BF0A3F55CA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5500" y="1171218"/>
            <a:ext cx="1740248" cy="829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83678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7800454-1F9F-4417-BBBF-1556973E18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3172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F7800454-1F9F-4417-BBBF-1556973E18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 dirty="0"/>
              <a:t>Agenda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A2ECA-B852-49F1-966E-79C1305AE400}" type="datetime1">
              <a:rPr lang="de-DE" smtClean="0"/>
              <a:t>16.10.23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gility &amp; Innovation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Nr.›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7" y="2241550"/>
            <a:ext cx="11160126" cy="4103688"/>
          </a:xfrm>
        </p:spPr>
        <p:txBody>
          <a:bodyPr/>
          <a:lstStyle>
            <a:lvl1pPr marL="447675" indent="-4476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2400">
                <a:latin typeface="+mj-lt"/>
              </a:defRPr>
            </a:lvl1pPr>
            <a:lvl2pPr marL="623888" indent="-179388">
              <a:lnSpc>
                <a:spcPct val="120000"/>
              </a:lnSpc>
              <a:spcAft>
                <a:spcPts val="0"/>
              </a:spcAft>
              <a:defRPr sz="1600"/>
            </a:lvl2pPr>
            <a:lvl3pPr marL="809625" indent="-185738">
              <a:lnSpc>
                <a:spcPct val="120000"/>
              </a:lnSpc>
              <a:spcAft>
                <a:spcPts val="0"/>
              </a:spcAft>
              <a:defRPr sz="1600"/>
            </a:lvl3pPr>
            <a:lvl4pPr marL="989013" indent="-179388">
              <a:lnSpc>
                <a:spcPct val="120000"/>
              </a:lnSpc>
              <a:spcAft>
                <a:spcPts val="0"/>
              </a:spcAft>
              <a:defRPr sz="1600"/>
            </a:lvl4pPr>
            <a:lvl5pPr marL="1168400" indent="-179388">
              <a:lnSpc>
                <a:spcPct val="120000"/>
              </a:lnSpc>
              <a:spcAft>
                <a:spcPts val="0"/>
              </a:spcAft>
              <a:defRPr sz="1600"/>
            </a:lvl5pPr>
          </a:lstStyle>
          <a:p>
            <a:pPr lvl="0"/>
            <a:r>
              <a:rPr lang="en-GB" dirty="0"/>
              <a:t>Topic (for sub-topics increase the indent)</a:t>
            </a:r>
          </a:p>
          <a:p>
            <a:pPr lvl="1"/>
            <a:r>
              <a:rPr lang="en-GB" dirty="0"/>
              <a:t>Sub-topic 1</a:t>
            </a:r>
          </a:p>
          <a:p>
            <a:pPr lvl="2"/>
            <a:r>
              <a:rPr lang="en-GB" dirty="0"/>
              <a:t>Text</a:t>
            </a:r>
          </a:p>
          <a:p>
            <a:pPr lvl="3"/>
            <a:r>
              <a:rPr lang="en-GB" dirty="0"/>
              <a:t>Text</a:t>
            </a:r>
          </a:p>
          <a:p>
            <a:pPr lvl="4"/>
            <a:r>
              <a:rPr lang="en-GB" dirty="0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 dirty="0"/>
              <a:t>Optional </a:t>
            </a:r>
            <a:r>
              <a:rPr lang="en-GB" dirty="0" err="1"/>
              <a:t>Top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804397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01B42A3-6F93-408F-97F5-ADE8032938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5857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01B42A3-6F93-408F-97F5-ADE803293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14">
            <a:extLst>
              <a:ext uri="{FF2B5EF4-FFF2-40B4-BE49-F238E27FC236}">
                <a16:creationId xmlns:a16="http://schemas.microsoft.com/office/drawing/2014/main" id="{6E04E5A4-2D50-D8BC-4A1F-08BD4CB784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345238"/>
          </a:xfrm>
          <a:solidFill>
            <a:schemeClr val="bg1">
              <a:lumMod val="75000"/>
            </a:schemeClr>
          </a:solidFill>
        </p:spPr>
        <p:txBody>
          <a:bodyPr lIns="72000" tIns="72000" rIns="72000" bIns="72000" anchor="ctr" anchorCtr="0"/>
          <a:lstStyle>
            <a:lvl1pPr marL="0" indent="0" algn="ctr">
              <a:buNone/>
              <a:defRPr sz="1000"/>
            </a:lvl1pPr>
          </a:lstStyle>
          <a:p>
            <a:r>
              <a:rPr lang="en-GB" dirty="0"/>
              <a:t>To insert a background image: Please click on the image placeholder and then select an image by clicking on the "Insert“ tab and choosing the “Pictures“ command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7" y="3830639"/>
            <a:ext cx="11160125" cy="2491220"/>
          </a:xfrm>
        </p:spPr>
        <p:txBody>
          <a:bodyPr vert="horz"/>
          <a:lstStyle>
            <a:lvl1pPr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ivider 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477DBE-C116-42C4-8622-642FFCD72367}" type="datetime1">
              <a:rPr lang="de-DE" smtClean="0"/>
              <a:t>16.10.23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Agility &amp; Innovation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F871C89F-DEE0-3BEE-38F7-BC449E3416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9" y="3362325"/>
            <a:ext cx="5265736" cy="321401"/>
          </a:xfrm>
        </p:spPr>
        <p:txBody>
          <a:bodyPr vert="horz" wrap="none" lIns="0" tIns="0" rIns="0" bIns="0" rtlCol="0" anchor="b" anchorCtr="0">
            <a:noAutofit/>
          </a:bodyPr>
          <a:lstStyle>
            <a:lvl1pPr marL="0" indent="0">
              <a:buNone/>
              <a:defRPr lang="de-DE" sz="1200" cap="all" spc="5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B6811DF-E32A-5291-FCEF-489063EEFA0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8579" y="6423258"/>
            <a:ext cx="562147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45141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6EA3C54-BA89-4778-ADD7-C20AA522BD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0664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6EA3C54-BA89-4778-ADD7-C20AA522BD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70D3CB88-3AF9-F4F2-F20B-8E4E118F6DD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345238"/>
          </a:xfrm>
          <a:solidFill>
            <a:schemeClr val="bg1">
              <a:lumMod val="75000"/>
            </a:schemeClr>
          </a:solidFill>
        </p:spPr>
        <p:txBody>
          <a:bodyPr lIns="72000" tIns="72000" rIns="72000" bIns="72000" anchor="ctr" anchorCtr="0"/>
          <a:lstStyle>
            <a:lvl1pPr marL="0" indent="0" algn="ctr">
              <a:buNone/>
              <a:defRPr sz="1000"/>
            </a:lvl1pPr>
          </a:lstStyle>
          <a:p>
            <a:r>
              <a:rPr lang="en-GB" dirty="0"/>
              <a:t>To insert a background image: Please click on the image placeholder and then select an image by clicking on the "Insert“ tab and choosing the “Pictures“ command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5006EAC-E5DE-9A83-860B-70B865E7B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7" y="1563688"/>
            <a:ext cx="11160125" cy="4781550"/>
          </a:xfrm>
        </p:spPr>
        <p:txBody>
          <a:bodyPr vert="horz"/>
          <a:lstStyle>
            <a:lvl1pPr>
              <a:defRPr sz="9500">
                <a:solidFill>
                  <a:schemeClr val="bg1"/>
                </a:solidFill>
              </a:defRPr>
            </a:lvl1pPr>
          </a:lstStyle>
          <a:p>
            <a:r>
              <a:rPr lang="en-GB"/>
              <a:t>Statement</a:t>
            </a:r>
            <a:endParaRPr lang="en-GB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C455C7F-7AC9-2B57-7274-49FAB72317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FE96D41-5151-4F63-97DF-9558E8C53C73}" type="datetime1">
              <a:rPr lang="de-DE" smtClean="0"/>
              <a:t>16.10.23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CB80B6E-01DC-6B1E-79E5-38BB6E5DDD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Agility &amp; Innovatio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D9337BC-2D66-80F8-C149-669BBBAEE7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C923423A-C12B-43B9-8D12-97180338418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8579" y="6423258"/>
            <a:ext cx="562147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95843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on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E38717D-C575-4D49-9C17-ED9DD8D953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94177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E38717D-C575-4D49-9C17-ED9DD8D953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5006EAC-E5DE-9A83-860B-70B865E7B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7" y="1563688"/>
            <a:ext cx="11160125" cy="4781550"/>
          </a:xfrm>
        </p:spPr>
        <p:txBody>
          <a:bodyPr vert="horz"/>
          <a:lstStyle>
            <a:lvl1pPr>
              <a:defRPr sz="95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Statemen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C455C7F-7AC9-2B57-7274-49FAB72317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9F1829B-3748-497C-AF43-AD2533B30F1B}" type="datetime1">
              <a:rPr lang="de-DE" smtClean="0"/>
              <a:t>16.10.23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CB80B6E-01DC-6B1E-79E5-38BB6E5DDD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Agility &amp; Innovatio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D9337BC-2D66-80F8-C149-669BBBAEE7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1E9DC3A8-308F-4D4A-AF4A-ECB4451B79D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8579" y="6423258"/>
            <a:ext cx="562147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40477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E7DDC1-E5A3-517C-CFF6-F704DC0FD0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483BFB-7829-C87F-A70D-47A6231D248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A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74E355-2D47-326A-5DBF-2BCE760A24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7B7C33-76A4-47C5-9F63-C435FF1C1A35}" type="datetime1">
              <a:rPr lang="de-DE" smtClean="0"/>
              <a:t>16.10.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585A4AD-869B-B3B9-FB67-3197FF9C5F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gility &amp; Innovation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15324D-417F-F25A-1454-D819EE9043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975923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on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25FE7A6-321B-4FA0-AAC4-6425C57694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885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25FE7A6-321B-4FA0-AAC4-6425C57694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95437" y="1988840"/>
            <a:ext cx="9001124" cy="2101769"/>
          </a:xfrm>
        </p:spPr>
        <p:txBody>
          <a:bodyPr vert="horz"/>
          <a:lstStyle>
            <a:lvl1pPr algn="ctr">
              <a:lnSpc>
                <a:spcPct val="107000"/>
              </a:lnSpc>
              <a:defRPr sz="24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Quote	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A273E8B-658A-405C-A28A-BCE1C4CE5146}" type="datetime1">
              <a:rPr lang="de-DE" smtClean="0"/>
              <a:t>16.10.23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Agility &amp; Innovation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D9A8D9-DADF-55CB-5BF2-41E78D03D3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95438" y="4806838"/>
            <a:ext cx="9001124" cy="380681"/>
          </a:xfrm>
        </p:spPr>
        <p:txBody>
          <a:bodyPr anchor="t"/>
          <a:lstStyle>
            <a:lvl1pPr marL="0" indent="0" algn="ctr">
              <a:spcAft>
                <a:spcPts val="0"/>
              </a:spcAft>
              <a:buNone/>
              <a:defRPr sz="85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Name Surname, Position/function</a:t>
            </a:r>
            <a:endParaRPr lang="en-GB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06BF775-ED24-3048-F696-1A3CB2FA7A3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alphaModFix amt="70000"/>
          </a:blip>
          <a:stretch>
            <a:fillRect/>
          </a:stretch>
        </p:blipFill>
        <p:spPr>
          <a:xfrm>
            <a:off x="5864077" y="1357963"/>
            <a:ext cx="463841" cy="359103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34B15952-203D-CBAF-0BE4-B2CE187BD26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5787877" y="4221088"/>
            <a:ext cx="463841" cy="353073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698E1F7D-076C-4AC1-808C-E99F729B2D3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8579" y="6423258"/>
            <a:ext cx="562147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70859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ith image +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63B66C2-62FA-4349-8ABA-65CDD0EFC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3376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63B66C2-62FA-4349-8ABA-65CDD0EFC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>
            <a:extLst>
              <a:ext uri="{FF2B5EF4-FFF2-40B4-BE49-F238E27FC236}">
                <a16:creationId xmlns:a16="http://schemas.microsoft.com/office/drawing/2014/main" id="{DC23CDB2-5A7E-CDB4-7154-06EF2FA70D84}"/>
              </a:ext>
            </a:extLst>
          </p:cNvPr>
          <p:cNvSpPr/>
          <p:nvPr userDrawn="1"/>
        </p:nvSpPr>
        <p:spPr>
          <a:xfrm>
            <a:off x="7680325" y="0"/>
            <a:ext cx="451167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Grafik 4">
            <a:extLst>
              <a:ext uri="{FF2B5EF4-FFF2-40B4-BE49-F238E27FC236}">
                <a16:creationId xmlns:a16="http://schemas.microsoft.com/office/drawing/2014/main" id="{97E0F36E-71AC-5602-E9B3-74D876A78702}"/>
              </a:ext>
            </a:extLst>
          </p:cNvPr>
          <p:cNvSpPr/>
          <p:nvPr userDrawn="1"/>
        </p:nvSpPr>
        <p:spPr>
          <a:xfrm>
            <a:off x="0" y="1"/>
            <a:ext cx="11966894" cy="6246951"/>
          </a:xfrm>
          <a:custGeom>
            <a:avLst/>
            <a:gdLst>
              <a:gd name="connsiteX0" fmla="*/ 10754594 w 11966894"/>
              <a:gd name="connsiteY0" fmla="*/ 6246952 h 6246951"/>
              <a:gd name="connsiteX1" fmla="*/ 0 w 11966894"/>
              <a:gd name="connsiteY1" fmla="*/ 6246952 h 6246951"/>
              <a:gd name="connsiteX2" fmla="*/ 0 w 11966894"/>
              <a:gd name="connsiteY2" fmla="*/ 6208865 h 6246951"/>
              <a:gd name="connsiteX3" fmla="*/ 10754594 w 11966894"/>
              <a:gd name="connsiteY3" fmla="*/ 6208865 h 6246951"/>
              <a:gd name="connsiteX4" fmla="*/ 11928819 w 11966894"/>
              <a:gd name="connsiteY4" fmla="*/ 5033058 h 6246951"/>
              <a:gd name="connsiteX5" fmla="*/ 11928819 w 11966894"/>
              <a:gd name="connsiteY5" fmla="*/ 0 h 6246951"/>
              <a:gd name="connsiteX6" fmla="*/ 11966894 w 11966894"/>
              <a:gd name="connsiteY6" fmla="*/ 0 h 6246951"/>
              <a:gd name="connsiteX7" fmla="*/ 11966894 w 11966894"/>
              <a:gd name="connsiteY7" fmla="*/ 5033058 h 6246951"/>
              <a:gd name="connsiteX8" fmla="*/ 10754594 w 11966894"/>
              <a:gd name="connsiteY8" fmla="*/ 6246952 h 6246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966894" h="6246951">
                <a:moveTo>
                  <a:pt x="10754594" y="6246952"/>
                </a:moveTo>
                <a:lnTo>
                  <a:pt x="0" y="6246952"/>
                </a:lnTo>
                <a:lnTo>
                  <a:pt x="0" y="6208865"/>
                </a:lnTo>
                <a:lnTo>
                  <a:pt x="10754594" y="6208865"/>
                </a:lnTo>
                <a:cubicBezTo>
                  <a:pt x="11402068" y="6208865"/>
                  <a:pt x="11928819" y="5681392"/>
                  <a:pt x="11928819" y="5033058"/>
                </a:cubicBezTo>
                <a:lnTo>
                  <a:pt x="11928819" y="0"/>
                </a:lnTo>
                <a:lnTo>
                  <a:pt x="11966894" y="0"/>
                </a:lnTo>
                <a:lnTo>
                  <a:pt x="11966894" y="5033058"/>
                </a:lnTo>
                <a:cubicBezTo>
                  <a:pt x="11966894" y="5702403"/>
                  <a:pt x="11423059" y="6246952"/>
                  <a:pt x="10754594" y="6246952"/>
                </a:cubicBezTo>
                <a:close/>
              </a:path>
            </a:pathLst>
          </a:custGeom>
          <a:solidFill>
            <a:schemeClr val="bg1"/>
          </a:solidFill>
          <a:ln w="12687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2" name="Bildplatzhalter 18">
            <a:extLst>
              <a:ext uri="{FF2B5EF4-FFF2-40B4-BE49-F238E27FC236}">
                <a16:creationId xmlns:a16="http://schemas.microsoft.com/office/drawing/2014/main" id="{4CC7D508-9A99-DC1C-B9D5-ADCE0FF6E9F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680324" y="0"/>
            <a:ext cx="4511675" cy="6867524"/>
          </a:xfrm>
          <a:custGeom>
            <a:avLst/>
            <a:gdLst>
              <a:gd name="connsiteX0" fmla="*/ 0 w 4511675"/>
              <a:gd name="connsiteY0" fmla="*/ 0 h 6867524"/>
              <a:gd name="connsiteX1" fmla="*/ 4511675 w 4511675"/>
              <a:gd name="connsiteY1" fmla="*/ 0 h 6867524"/>
              <a:gd name="connsiteX2" fmla="*/ 4511675 w 4511675"/>
              <a:gd name="connsiteY2" fmla="*/ 6867524 h 6867524"/>
              <a:gd name="connsiteX3" fmla="*/ 0 w 4511675"/>
              <a:gd name="connsiteY3" fmla="*/ 6867524 h 6867524"/>
              <a:gd name="connsiteX4" fmla="*/ 0 w 4511675"/>
              <a:gd name="connsiteY4" fmla="*/ 6246953 h 6867524"/>
              <a:gd name="connsiteX5" fmla="*/ 3074270 w 4511675"/>
              <a:gd name="connsiteY5" fmla="*/ 6246953 h 6867524"/>
              <a:gd name="connsiteX6" fmla="*/ 4286570 w 4511675"/>
              <a:gd name="connsiteY6" fmla="*/ 5033059 h 6867524"/>
              <a:gd name="connsiteX7" fmla="*/ 4286570 w 4511675"/>
              <a:gd name="connsiteY7" fmla="*/ 1 h 6867524"/>
              <a:gd name="connsiteX8" fmla="*/ 4248495 w 4511675"/>
              <a:gd name="connsiteY8" fmla="*/ 1 h 6867524"/>
              <a:gd name="connsiteX9" fmla="*/ 4248495 w 4511675"/>
              <a:gd name="connsiteY9" fmla="*/ 5033059 h 6867524"/>
              <a:gd name="connsiteX10" fmla="*/ 3074270 w 4511675"/>
              <a:gd name="connsiteY10" fmla="*/ 6208866 h 6867524"/>
              <a:gd name="connsiteX11" fmla="*/ 0 w 4511675"/>
              <a:gd name="connsiteY11" fmla="*/ 6208866 h 68675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511675" h="6867524">
                <a:moveTo>
                  <a:pt x="0" y="0"/>
                </a:moveTo>
                <a:lnTo>
                  <a:pt x="4511675" y="0"/>
                </a:lnTo>
                <a:lnTo>
                  <a:pt x="4511675" y="6867524"/>
                </a:lnTo>
                <a:lnTo>
                  <a:pt x="0" y="6867524"/>
                </a:lnTo>
                <a:lnTo>
                  <a:pt x="0" y="6246953"/>
                </a:lnTo>
                <a:lnTo>
                  <a:pt x="3074270" y="6246953"/>
                </a:lnTo>
                <a:cubicBezTo>
                  <a:pt x="3742735" y="6246953"/>
                  <a:pt x="4286570" y="5702404"/>
                  <a:pt x="4286570" y="5033059"/>
                </a:cubicBezTo>
                <a:lnTo>
                  <a:pt x="4286570" y="1"/>
                </a:lnTo>
                <a:lnTo>
                  <a:pt x="4248495" y="1"/>
                </a:lnTo>
                <a:lnTo>
                  <a:pt x="4248495" y="5033059"/>
                </a:lnTo>
                <a:cubicBezTo>
                  <a:pt x="4248495" y="5681393"/>
                  <a:pt x="3721744" y="6208866"/>
                  <a:pt x="3074270" y="6208866"/>
                </a:cubicBezTo>
                <a:lnTo>
                  <a:pt x="0" y="620886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03265" y="2619375"/>
            <a:ext cx="5521385" cy="3169124"/>
          </a:xfrm>
        </p:spPr>
        <p:txBody>
          <a:bodyPr vert="horz"/>
          <a:lstStyle>
            <a:lvl1pPr>
              <a:lnSpc>
                <a:spcPct val="107000"/>
              </a:lnSpc>
              <a:defRPr sz="24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Quote	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D2918D9-3030-4062-BF39-ABC4A480E7AC}" type="datetime1">
              <a:rPr lang="de-DE" smtClean="0"/>
              <a:t>16.10.23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Agility &amp; Innovation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D9A8D9-DADF-55CB-5BF2-41E78D03D3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70042" y="5407818"/>
            <a:ext cx="3512346" cy="380681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85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Name Surname, Position/function</a:t>
            </a:r>
            <a:endParaRPr lang="en-GB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E13DAA37-BAD9-4051-B964-9414B954C1C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8579" y="6423258"/>
            <a:ext cx="562147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08875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copy text on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5056A0F-CAA5-418C-A298-12870B9C4B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06094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5056A0F-CAA5-418C-A298-12870B9C4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FFB1D59-2E17-4A9B-AE38-A012DD271DA3}" type="datetime1">
              <a:rPr lang="de-DE" smtClean="0"/>
              <a:t>16.10.23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Agility &amp; Innovation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7" y="2241550"/>
            <a:ext cx="6948487" cy="4103688"/>
          </a:xfrm>
        </p:spPr>
        <p:txBody>
          <a:bodyPr/>
          <a:lstStyle>
            <a:lvl1pPr marL="266700" indent="-266700">
              <a:defRPr sz="2400">
                <a:solidFill>
                  <a:schemeClr val="bg1"/>
                </a:solidFill>
              </a:defRPr>
            </a:lvl1pPr>
            <a:lvl2pPr marL="271463" indent="-271463">
              <a:defRPr sz="2400">
                <a:solidFill>
                  <a:schemeClr val="bg1"/>
                </a:solidFill>
              </a:defRPr>
            </a:lvl2pPr>
            <a:lvl3pPr marL="538163" indent="-273050">
              <a:defRPr sz="2400">
                <a:solidFill>
                  <a:schemeClr val="bg1"/>
                </a:solidFill>
              </a:defRPr>
            </a:lvl3pPr>
            <a:lvl4pPr marL="803275" indent="-263525">
              <a:defRPr sz="2400">
                <a:solidFill>
                  <a:schemeClr val="bg1"/>
                </a:solidFill>
              </a:defRPr>
            </a:lvl4pPr>
            <a:lvl5pPr marL="1076325" indent="-261938"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3"/>
            <a:r>
              <a:rPr lang="en-GB" dirty="0"/>
              <a:t>Text</a:t>
            </a:r>
          </a:p>
          <a:p>
            <a:pPr lvl="4"/>
            <a:r>
              <a:rPr lang="en-GB" dirty="0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3D779F7-680B-40BB-833D-0C922321FFE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8579" y="6423258"/>
            <a:ext cx="562147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96021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Right)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38FB34B-4945-40B7-AE09-5841D29001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3932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838FB34B-4945-40B7-AE09-5841D29001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14">
            <a:extLst>
              <a:ext uri="{FF2B5EF4-FFF2-40B4-BE49-F238E27FC236}">
                <a16:creationId xmlns:a16="http://schemas.microsoft.com/office/drawing/2014/main" id="{49F1B917-F0D7-F764-ABEA-0C7F235E21E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16780" y="620714"/>
            <a:ext cx="6959283" cy="5724524"/>
          </a:xfrm>
          <a:prstGeom prst="roundRect">
            <a:avLst>
              <a:gd name="adj" fmla="val 2402"/>
            </a:avLst>
          </a:prstGeom>
          <a:solidFill>
            <a:schemeClr val="bg1">
              <a:lumMod val="75000"/>
            </a:schemeClr>
          </a:solidFill>
        </p:spPr>
        <p:txBody>
          <a:bodyPr lIns="72000" tIns="72000" rIns="72000" bIns="72000" anchor="t" anchorCtr="0"/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620714"/>
            <a:ext cx="4084638" cy="755650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F3CCBC-F6E7-4E63-B731-188C69D483D6}" type="datetime1">
              <a:rPr lang="de-DE" smtClean="0"/>
              <a:t>16.10.23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gility &amp; Innovation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Nr.›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2241550"/>
            <a:ext cx="4084638" cy="41036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  <a:endParaRPr lang="en-GB" dirty="0"/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715208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Image (Right) on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84D4699-83E7-4F5B-9296-78CE9D4BB8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0112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7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84D4699-83E7-4F5B-9296-78CE9D4BB8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14">
            <a:extLst>
              <a:ext uri="{FF2B5EF4-FFF2-40B4-BE49-F238E27FC236}">
                <a16:creationId xmlns:a16="http://schemas.microsoft.com/office/drawing/2014/main" id="{8C339001-6AB6-F5CB-1054-DEC08653701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16780" y="620714"/>
            <a:ext cx="6959283" cy="5724524"/>
          </a:xfrm>
          <a:prstGeom prst="roundRect">
            <a:avLst>
              <a:gd name="adj" fmla="val 2402"/>
            </a:avLst>
          </a:prstGeom>
          <a:solidFill>
            <a:schemeClr val="bg1">
              <a:lumMod val="75000"/>
            </a:schemeClr>
          </a:solidFill>
        </p:spPr>
        <p:txBody>
          <a:bodyPr lIns="72000" tIns="72000" rIns="72000" bIns="72000" anchor="t" anchorCtr="0"/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620714"/>
            <a:ext cx="4084638" cy="75565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877282D-B6BA-4CFF-A29E-56C1146F529F}" type="datetime1">
              <a:rPr lang="de-DE" smtClean="0"/>
              <a:t>16.10.23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Agility &amp; Innovation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2241550"/>
            <a:ext cx="4084638" cy="41036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3"/>
            <a:r>
              <a:rPr lang="en-GB" dirty="0"/>
              <a:t>Text</a:t>
            </a:r>
          </a:p>
          <a:p>
            <a:pPr lvl="4"/>
            <a:r>
              <a:rPr lang="en-GB" dirty="0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951D2331-158B-4EC4-ACE5-778CF74CA51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8579" y="6423258"/>
            <a:ext cx="562147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242193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Image (Left) on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6D7E80F-C0DB-4BC2-9787-946B097ABC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3454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6D7E80F-C0DB-4BC2-9787-946B097ABC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9635" y="620714"/>
            <a:ext cx="3986427" cy="75565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4B0D99C-75CB-4A3E-A737-319363149F82}" type="datetime1">
              <a:rPr lang="de-DE" smtClean="0"/>
              <a:t>16.10.23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Agility &amp; Innovation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9635" y="2231827"/>
            <a:ext cx="3986427" cy="41134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3"/>
            <a:r>
              <a:rPr lang="en-GB" dirty="0"/>
              <a:t>Text</a:t>
            </a:r>
          </a:p>
          <a:p>
            <a:pPr lvl="4"/>
            <a:r>
              <a:rPr lang="en-GB" dirty="0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89635" y="275183"/>
            <a:ext cx="3986427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  <p:sp>
        <p:nvSpPr>
          <p:cNvPr id="3" name="Bildplatzhalter 14">
            <a:extLst>
              <a:ext uri="{FF2B5EF4-FFF2-40B4-BE49-F238E27FC236}">
                <a16:creationId xmlns:a16="http://schemas.microsoft.com/office/drawing/2014/main" id="{DC5CE066-1886-D38C-E40C-8359155A9C8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15938" y="620714"/>
            <a:ext cx="6948487" cy="5724524"/>
          </a:xfrm>
          <a:prstGeom prst="roundRect">
            <a:avLst>
              <a:gd name="adj" fmla="val 2402"/>
            </a:avLst>
          </a:prstGeom>
          <a:solidFill>
            <a:schemeClr val="bg1">
              <a:lumMod val="75000"/>
            </a:schemeClr>
          </a:solidFill>
        </p:spPr>
        <p:txBody>
          <a:bodyPr lIns="72000" tIns="72000" rIns="72000" bIns="72000" anchor="t" anchorCtr="0"/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  <a:endParaRPr lang="en-GB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F1D7AF19-9E72-4033-9543-F2C32418FB8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8579" y="6423258"/>
            <a:ext cx="562147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57121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A75D39B-94D0-4904-BA54-A4A14E59B4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6569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5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A75D39B-94D0-4904-BA54-A4A14E59B4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72554F-C496-40E2-8E3C-E6EA636A6773}" type="datetime1">
              <a:rPr lang="de-DE" smtClean="0"/>
              <a:t>16.10.23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gility &amp; Innovation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Nr.›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4324350"/>
            <a:ext cx="5472042" cy="2020888"/>
          </a:xfrm>
        </p:spPr>
        <p:txBody>
          <a:bodyPr/>
          <a:lstStyle>
            <a:lvl1pPr>
              <a:spcAft>
                <a:spcPts val="200"/>
              </a:spcAft>
              <a:defRPr/>
            </a:lvl1pPr>
            <a:lvl2pPr>
              <a:spcAft>
                <a:spcPts val="200"/>
              </a:spcAft>
              <a:defRPr/>
            </a:lvl2pPr>
            <a:lvl3pPr>
              <a:spcAft>
                <a:spcPts val="200"/>
              </a:spcAft>
              <a:defRPr/>
            </a:lvl3pPr>
            <a:lvl4pPr>
              <a:spcAft>
                <a:spcPts val="200"/>
              </a:spcAft>
              <a:defRPr/>
            </a:lvl4pPr>
            <a:lvl5pPr>
              <a:spcAft>
                <a:spcPts val="200"/>
              </a:spcAft>
              <a:defRPr/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3"/>
            <a:r>
              <a:rPr lang="en-GB" dirty="0"/>
              <a:t>Text</a:t>
            </a:r>
          </a:p>
          <a:p>
            <a:pPr lvl="4"/>
            <a:r>
              <a:rPr lang="en-GB" dirty="0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D845AF7A-44DA-5B67-EDB0-A9CC83B0C4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04020" y="4324350"/>
            <a:ext cx="5472042" cy="2020888"/>
          </a:xfrm>
        </p:spPr>
        <p:txBody>
          <a:bodyPr/>
          <a:lstStyle>
            <a:lvl1pPr>
              <a:spcAft>
                <a:spcPts val="200"/>
              </a:spcAft>
              <a:defRPr/>
            </a:lvl1pPr>
            <a:lvl2pPr>
              <a:spcAft>
                <a:spcPts val="200"/>
              </a:spcAft>
              <a:defRPr/>
            </a:lvl2pPr>
            <a:lvl3pPr>
              <a:spcAft>
                <a:spcPts val="200"/>
              </a:spcAft>
              <a:defRPr/>
            </a:lvl3pPr>
            <a:lvl4pPr>
              <a:spcAft>
                <a:spcPts val="200"/>
              </a:spcAft>
              <a:defRPr/>
            </a:lvl4pPr>
            <a:lvl5pPr>
              <a:spcAft>
                <a:spcPts val="200"/>
              </a:spcAft>
              <a:defRPr/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3"/>
            <a:r>
              <a:rPr lang="en-GB" dirty="0"/>
              <a:t>Text</a:t>
            </a:r>
          </a:p>
          <a:p>
            <a:pPr lvl="4"/>
            <a:r>
              <a:rPr lang="en-GB" dirty="0"/>
              <a:t>Text</a:t>
            </a:r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0F7F19B2-9558-5BD7-6F06-3E30B69232F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15938" y="1376362"/>
            <a:ext cx="5472042" cy="2808000"/>
          </a:xfrm>
          <a:prstGeom prst="roundRect">
            <a:avLst>
              <a:gd name="adj" fmla="val 5247"/>
            </a:avLst>
          </a:pr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b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  <a:endParaRPr lang="en-GB" dirty="0"/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8B3EB307-DE58-7D91-FAC8-9F73C171AE9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04020" y="1376362"/>
            <a:ext cx="5472042" cy="2808000"/>
          </a:xfrm>
          <a:prstGeom prst="roundRect">
            <a:avLst>
              <a:gd name="adj" fmla="val 5247"/>
            </a:avLst>
          </a:pr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b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038171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D751902-D863-4C73-B3EA-74BC67ECC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7729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D751902-D863-4C73-B3EA-74BC67ECC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F73D6D-65B8-4FB8-90A3-3350AD23D6C2}" type="datetime1">
              <a:rPr lang="de-DE" smtClean="0"/>
              <a:t>16.10.23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gility &amp; Innovation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Nr.›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4324350"/>
            <a:ext cx="3564000" cy="2020888"/>
          </a:xfrm>
        </p:spPr>
        <p:txBody>
          <a:bodyPr/>
          <a:lstStyle>
            <a:lvl1pPr>
              <a:spcAft>
                <a:spcPts val="200"/>
              </a:spcAft>
              <a:defRPr/>
            </a:lvl1pPr>
            <a:lvl2pPr>
              <a:spcAft>
                <a:spcPts val="200"/>
              </a:spcAft>
              <a:defRPr/>
            </a:lvl2pPr>
            <a:lvl3pPr>
              <a:spcAft>
                <a:spcPts val="200"/>
              </a:spcAft>
              <a:defRPr/>
            </a:lvl3pPr>
            <a:lvl4pPr>
              <a:spcAft>
                <a:spcPts val="200"/>
              </a:spcAft>
              <a:defRPr/>
            </a:lvl4pPr>
            <a:lvl5pPr>
              <a:spcAft>
                <a:spcPts val="200"/>
              </a:spcAft>
              <a:defRPr/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3"/>
            <a:r>
              <a:rPr lang="en-GB" dirty="0"/>
              <a:t>Text</a:t>
            </a:r>
          </a:p>
          <a:p>
            <a:pPr lvl="4"/>
            <a:r>
              <a:rPr lang="en-GB" dirty="0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D59E7B93-87F4-B87D-5BF5-9B6054758A7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15938" y="1376362"/>
            <a:ext cx="3564000" cy="2808000"/>
          </a:xfrm>
          <a:prstGeom prst="roundRect">
            <a:avLst>
              <a:gd name="adj" fmla="val 5247"/>
            </a:avLst>
          </a:pr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b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  <a:endParaRPr lang="en-GB" dirty="0"/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AF2F75E1-35E2-8732-5F2D-2DE90D1C9D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14001" y="4324350"/>
            <a:ext cx="3564000" cy="2020888"/>
          </a:xfrm>
        </p:spPr>
        <p:txBody>
          <a:bodyPr/>
          <a:lstStyle>
            <a:lvl1pPr>
              <a:spcAft>
                <a:spcPts val="200"/>
              </a:spcAft>
              <a:defRPr/>
            </a:lvl1pPr>
            <a:lvl2pPr>
              <a:spcAft>
                <a:spcPts val="200"/>
              </a:spcAft>
              <a:defRPr/>
            </a:lvl2pPr>
            <a:lvl3pPr>
              <a:spcAft>
                <a:spcPts val="200"/>
              </a:spcAft>
              <a:defRPr/>
            </a:lvl3pPr>
            <a:lvl4pPr>
              <a:spcAft>
                <a:spcPts val="200"/>
              </a:spcAft>
              <a:defRPr/>
            </a:lvl4pPr>
            <a:lvl5pPr>
              <a:spcAft>
                <a:spcPts val="200"/>
              </a:spcAft>
              <a:defRPr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  <a:endParaRPr lang="en-GB" dirty="0"/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D845AF7A-44DA-5B67-EDB0-A9CC83B0C4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12064" y="4324350"/>
            <a:ext cx="3564000" cy="2020888"/>
          </a:xfrm>
        </p:spPr>
        <p:txBody>
          <a:bodyPr/>
          <a:lstStyle>
            <a:lvl1pPr>
              <a:spcAft>
                <a:spcPts val="200"/>
              </a:spcAft>
              <a:defRPr/>
            </a:lvl1pPr>
            <a:lvl2pPr>
              <a:spcAft>
                <a:spcPts val="200"/>
              </a:spcAft>
              <a:defRPr/>
            </a:lvl2pPr>
            <a:lvl3pPr>
              <a:spcAft>
                <a:spcPts val="200"/>
              </a:spcAft>
              <a:defRPr/>
            </a:lvl3pPr>
            <a:lvl4pPr>
              <a:spcAft>
                <a:spcPts val="200"/>
              </a:spcAft>
              <a:defRPr/>
            </a:lvl4pPr>
            <a:lvl5pPr>
              <a:spcAft>
                <a:spcPts val="200"/>
              </a:spcAft>
              <a:defRPr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  <a:endParaRPr lang="en-GB" dirty="0"/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530AC9F5-EEBE-671C-1159-AB8180EE3B5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14001" y="1376362"/>
            <a:ext cx="3564000" cy="2808000"/>
          </a:xfrm>
          <a:prstGeom prst="roundRect">
            <a:avLst>
              <a:gd name="adj" fmla="val 5247"/>
            </a:avLst>
          </a:pr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b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  <a:endParaRPr lang="en-GB" dirty="0"/>
          </a:p>
        </p:txBody>
      </p:sp>
      <p:sp>
        <p:nvSpPr>
          <p:cNvPr id="11" name="Bildplatzhalter 6">
            <a:extLst>
              <a:ext uri="{FF2B5EF4-FFF2-40B4-BE49-F238E27FC236}">
                <a16:creationId xmlns:a16="http://schemas.microsoft.com/office/drawing/2014/main" id="{68D03FEE-AC9C-684A-1B73-61AA20B112A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112064" y="1376362"/>
            <a:ext cx="3564000" cy="2808000"/>
          </a:xfrm>
          <a:prstGeom prst="roundRect">
            <a:avLst>
              <a:gd name="adj" fmla="val 5247"/>
            </a:avLst>
          </a:pr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b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702064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E71F41E-C40B-46A5-8FAD-B25FA71A32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126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3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FE71F41E-C40B-46A5-8FAD-B25FA71A32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18338-2F92-4B7A-AA69-970B6861A513}" type="datetime1">
              <a:rPr lang="de-DE" smtClean="0"/>
              <a:t>16.10.23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gility &amp; Innovation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Nr.›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4324350"/>
            <a:ext cx="2628000" cy="2020888"/>
          </a:xfrm>
        </p:spPr>
        <p:txBody>
          <a:bodyPr/>
          <a:lstStyle>
            <a:lvl1pPr>
              <a:spcAft>
                <a:spcPts val="200"/>
              </a:spcAft>
              <a:defRPr/>
            </a:lvl1pPr>
            <a:lvl2pPr>
              <a:spcAft>
                <a:spcPts val="200"/>
              </a:spcAft>
              <a:defRPr/>
            </a:lvl2pPr>
            <a:lvl3pPr>
              <a:spcAft>
                <a:spcPts val="200"/>
              </a:spcAft>
              <a:defRPr/>
            </a:lvl3pPr>
            <a:lvl4pPr>
              <a:spcAft>
                <a:spcPts val="200"/>
              </a:spcAft>
              <a:defRPr/>
            </a:lvl4pPr>
            <a:lvl5pPr>
              <a:spcAft>
                <a:spcPts val="200"/>
              </a:spcAft>
              <a:defRPr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  <a:endParaRPr lang="en-GB" dirty="0"/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AF2F75E1-35E2-8732-5F2D-2DE90D1C9D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59979" y="4324350"/>
            <a:ext cx="2628000" cy="2020888"/>
          </a:xfrm>
        </p:spPr>
        <p:txBody>
          <a:bodyPr/>
          <a:lstStyle>
            <a:lvl1pPr>
              <a:spcAft>
                <a:spcPts val="200"/>
              </a:spcAft>
              <a:defRPr/>
            </a:lvl1pPr>
            <a:lvl2pPr>
              <a:spcAft>
                <a:spcPts val="200"/>
              </a:spcAft>
              <a:defRPr/>
            </a:lvl2pPr>
            <a:lvl3pPr>
              <a:spcAft>
                <a:spcPts val="200"/>
              </a:spcAft>
              <a:defRPr/>
            </a:lvl3pPr>
            <a:lvl4pPr>
              <a:spcAft>
                <a:spcPts val="200"/>
              </a:spcAft>
              <a:defRPr/>
            </a:lvl4pPr>
            <a:lvl5pPr>
              <a:spcAft>
                <a:spcPts val="200"/>
              </a:spcAft>
              <a:defRPr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  <a:endParaRPr lang="en-GB" dirty="0"/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D845AF7A-44DA-5B67-EDB0-A9CC83B0C4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04020" y="4324350"/>
            <a:ext cx="2628000" cy="2020888"/>
          </a:xfrm>
        </p:spPr>
        <p:txBody>
          <a:bodyPr/>
          <a:lstStyle>
            <a:lvl1pPr>
              <a:spcAft>
                <a:spcPts val="200"/>
              </a:spcAft>
              <a:defRPr/>
            </a:lvl1pPr>
            <a:lvl2pPr>
              <a:spcAft>
                <a:spcPts val="200"/>
              </a:spcAft>
              <a:defRPr/>
            </a:lvl2pPr>
            <a:lvl3pPr>
              <a:spcAft>
                <a:spcPts val="200"/>
              </a:spcAft>
              <a:defRPr/>
            </a:lvl3pPr>
            <a:lvl4pPr>
              <a:spcAft>
                <a:spcPts val="200"/>
              </a:spcAft>
              <a:defRPr/>
            </a:lvl4pPr>
            <a:lvl5pPr>
              <a:spcAft>
                <a:spcPts val="200"/>
              </a:spcAft>
              <a:defRPr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  <a:endParaRPr lang="en-GB" dirty="0"/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A3CFA9BC-806E-F0DF-76E7-A790C5A6D99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48062" y="4324350"/>
            <a:ext cx="2628000" cy="2020888"/>
          </a:xfrm>
        </p:spPr>
        <p:txBody>
          <a:bodyPr/>
          <a:lstStyle>
            <a:lvl1pPr>
              <a:spcAft>
                <a:spcPts val="200"/>
              </a:spcAft>
              <a:defRPr/>
            </a:lvl1pPr>
            <a:lvl2pPr>
              <a:spcAft>
                <a:spcPts val="200"/>
              </a:spcAft>
              <a:defRPr/>
            </a:lvl2pPr>
            <a:lvl3pPr>
              <a:spcAft>
                <a:spcPts val="200"/>
              </a:spcAft>
              <a:defRPr/>
            </a:lvl3pPr>
            <a:lvl4pPr>
              <a:spcAft>
                <a:spcPts val="200"/>
              </a:spcAft>
              <a:defRPr/>
            </a:lvl4pPr>
            <a:lvl5pPr>
              <a:spcAft>
                <a:spcPts val="200"/>
              </a:spcAft>
              <a:defRPr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  <a:endParaRPr lang="en-GB" dirty="0"/>
          </a:p>
        </p:txBody>
      </p:sp>
      <p:sp>
        <p:nvSpPr>
          <p:cNvPr id="13" name="Bildplatzhalter 6">
            <a:extLst>
              <a:ext uri="{FF2B5EF4-FFF2-40B4-BE49-F238E27FC236}">
                <a16:creationId xmlns:a16="http://schemas.microsoft.com/office/drawing/2014/main" id="{1B90849C-0499-DFD6-5B5D-6C7A966E53E5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15938" y="1376362"/>
            <a:ext cx="2627999" cy="2808000"/>
          </a:xfrm>
          <a:prstGeom prst="roundRect">
            <a:avLst>
              <a:gd name="adj" fmla="val 5609"/>
            </a:avLst>
          </a:pr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b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  <a:endParaRPr lang="en-GB" dirty="0"/>
          </a:p>
        </p:txBody>
      </p:sp>
      <p:sp>
        <p:nvSpPr>
          <p:cNvPr id="17" name="Bildplatzhalter 6">
            <a:extLst>
              <a:ext uri="{FF2B5EF4-FFF2-40B4-BE49-F238E27FC236}">
                <a16:creationId xmlns:a16="http://schemas.microsoft.com/office/drawing/2014/main" id="{75FCA175-DD53-E408-EC4C-4A46150284DC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359979" y="1376362"/>
            <a:ext cx="2627999" cy="2808000"/>
          </a:xfrm>
          <a:prstGeom prst="roundRect">
            <a:avLst>
              <a:gd name="adj" fmla="val 5609"/>
            </a:avLst>
          </a:pr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b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  <a:endParaRPr lang="en-GB" dirty="0"/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37012A2C-45E5-F3F0-80D4-0C5A1CA60B5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204020" y="1376362"/>
            <a:ext cx="2627999" cy="2808000"/>
          </a:xfrm>
          <a:prstGeom prst="roundRect">
            <a:avLst>
              <a:gd name="adj" fmla="val 5609"/>
            </a:avLst>
          </a:pr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b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  <a:endParaRPr lang="en-GB" dirty="0"/>
          </a:p>
        </p:txBody>
      </p:sp>
      <p:sp>
        <p:nvSpPr>
          <p:cNvPr id="19" name="Bildplatzhalter 6">
            <a:extLst>
              <a:ext uri="{FF2B5EF4-FFF2-40B4-BE49-F238E27FC236}">
                <a16:creationId xmlns:a16="http://schemas.microsoft.com/office/drawing/2014/main" id="{2BAC117D-09E5-9074-DDED-5357FB65A18A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048064" y="1376362"/>
            <a:ext cx="2627999" cy="2808000"/>
          </a:xfrm>
          <a:prstGeom prst="roundRect">
            <a:avLst>
              <a:gd name="adj" fmla="val 5609"/>
            </a:avLst>
          </a:pr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b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026492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066A110-9448-4BD5-BEEC-AB7E24BE94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14733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7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066A110-9448-4BD5-BEEC-AB7E24BE94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13B07D-402F-45A4-84FE-F5394C818030}" type="datetime1">
              <a:rPr lang="de-DE" smtClean="0"/>
              <a:t>16.10.23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gility &amp; Innovation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Nr.›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2241550"/>
            <a:ext cx="5472110" cy="41036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3"/>
            <a:r>
              <a:rPr lang="en-GB" dirty="0"/>
              <a:t>Text</a:t>
            </a:r>
          </a:p>
          <a:p>
            <a:pPr lvl="4"/>
            <a:r>
              <a:rPr lang="en-GB" dirty="0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  <p:sp>
        <p:nvSpPr>
          <p:cNvPr id="7" name="Diagrammplatzhalter 6">
            <a:extLst>
              <a:ext uri="{FF2B5EF4-FFF2-40B4-BE49-F238E27FC236}">
                <a16:creationId xmlns:a16="http://schemas.microsoft.com/office/drawing/2014/main" id="{EED96E30-58A9-71CA-8ED9-3B505FD99B2B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6203953" y="2241550"/>
            <a:ext cx="5472109" cy="390779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Add diagram by clicking on symbo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022E179-20CB-DC56-C7B5-1E365ED04F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03949" y="6149340"/>
            <a:ext cx="5472113" cy="210186"/>
          </a:xfrm>
        </p:spPr>
        <p:txBody>
          <a:bodyPr anchor="b"/>
          <a:lstStyle>
            <a:lvl1pPr marL="0" indent="0" algn="ctr">
              <a:spcAft>
                <a:spcPts val="0"/>
              </a:spcAft>
              <a:buNone/>
              <a:defRPr sz="700"/>
            </a:lvl1pPr>
            <a:lvl2pPr>
              <a:spcAft>
                <a:spcPts val="0"/>
              </a:spcAft>
              <a:defRPr sz="1200"/>
            </a:lvl2pPr>
            <a:lvl3pPr>
              <a:spcAft>
                <a:spcPts val="0"/>
              </a:spcAft>
              <a:defRPr sz="1200"/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de-DE" dirty="0"/>
              <a:t>Caption</a:t>
            </a:r>
          </a:p>
        </p:txBody>
      </p:sp>
    </p:spTree>
    <p:extLst>
      <p:ext uri="{BB962C8B-B14F-4D97-AF65-F5344CB8AC3E}">
        <p14:creationId xmlns:p14="http://schemas.microsoft.com/office/powerpoint/2010/main" val="31587930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13CBDB-49A6-C961-150B-97575A9976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D47AA4-71D7-8EF6-A5BE-F60256B65D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76D83E0-57FA-AA61-60D9-3D38F19608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E8890-BDDC-48C9-9109-3A5585781597}" type="datetime1">
              <a:rPr lang="de-DE" smtClean="0"/>
              <a:t>16.10.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A9E4B7-3FF5-D3F0-9CD2-26DBE0EC96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gility &amp; Innovation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5F3FE5-BB59-73C7-90A4-373202ED1E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2624718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dia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B1E22B95-67E0-4B79-9D17-A7752C4680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1847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B1E22B95-67E0-4B79-9D17-A7752C4680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51B826-F4A3-4BCF-AC4F-FE201DA3AF24}" type="datetime1">
              <a:rPr lang="de-DE" smtClean="0"/>
              <a:t>16.10.23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gility &amp; Innovation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Nr.›</a:t>
            </a:fld>
            <a:endParaRPr lang="en-GB" dirty="0"/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  <p:sp>
        <p:nvSpPr>
          <p:cNvPr id="7" name="Diagrammplatzhalter 6">
            <a:extLst>
              <a:ext uri="{FF2B5EF4-FFF2-40B4-BE49-F238E27FC236}">
                <a16:creationId xmlns:a16="http://schemas.microsoft.com/office/drawing/2014/main" id="{EED96E30-58A9-71CA-8ED9-3B505FD99B2B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6203953" y="2241550"/>
            <a:ext cx="5472109" cy="390779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Add diagram by clicking on symbo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022E179-20CB-DC56-C7B5-1E365ED04F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03949" y="6149340"/>
            <a:ext cx="5472113" cy="210186"/>
          </a:xfrm>
        </p:spPr>
        <p:txBody>
          <a:bodyPr anchor="b"/>
          <a:lstStyle>
            <a:lvl1pPr marL="0" indent="0" algn="ctr">
              <a:spcAft>
                <a:spcPts val="0"/>
              </a:spcAft>
              <a:buNone/>
              <a:defRPr sz="700"/>
            </a:lvl1pPr>
            <a:lvl2pPr>
              <a:spcAft>
                <a:spcPts val="0"/>
              </a:spcAft>
              <a:defRPr sz="1200"/>
            </a:lvl2pPr>
            <a:lvl3pPr>
              <a:spcAft>
                <a:spcPts val="0"/>
              </a:spcAft>
              <a:defRPr sz="1200"/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de-DE" dirty="0"/>
              <a:t>Caption</a:t>
            </a:r>
          </a:p>
        </p:txBody>
      </p:sp>
      <p:sp>
        <p:nvSpPr>
          <p:cNvPr id="3" name="Diagrammplatzhalter 6">
            <a:extLst>
              <a:ext uri="{FF2B5EF4-FFF2-40B4-BE49-F238E27FC236}">
                <a16:creationId xmlns:a16="http://schemas.microsoft.com/office/drawing/2014/main" id="{69CE1E29-E132-7375-3C58-1F528CDF3C48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515942" y="2241550"/>
            <a:ext cx="5472109" cy="390779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Add diagram by clicking on symbol</a:t>
            </a: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8A72BB8B-F176-96AA-F830-056601A62AA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15938" y="6149340"/>
            <a:ext cx="5472113" cy="210186"/>
          </a:xfrm>
        </p:spPr>
        <p:txBody>
          <a:bodyPr anchor="b"/>
          <a:lstStyle>
            <a:lvl1pPr marL="0" indent="0" algn="ctr">
              <a:spcAft>
                <a:spcPts val="0"/>
              </a:spcAft>
              <a:buNone/>
              <a:defRPr sz="700"/>
            </a:lvl1pPr>
            <a:lvl2pPr>
              <a:spcAft>
                <a:spcPts val="0"/>
              </a:spcAft>
              <a:defRPr sz="1200"/>
            </a:lvl2pPr>
            <a:lvl3pPr>
              <a:spcAft>
                <a:spcPts val="0"/>
              </a:spcAft>
              <a:defRPr sz="1200"/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de-DE" dirty="0"/>
              <a:t>Caption</a:t>
            </a:r>
          </a:p>
        </p:txBody>
      </p:sp>
    </p:spTree>
    <p:extLst>
      <p:ext uri="{BB962C8B-B14F-4D97-AF65-F5344CB8AC3E}">
        <p14:creationId xmlns:p14="http://schemas.microsoft.com/office/powerpoint/2010/main" val="41243898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text and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BEB0B83-71B2-4B29-A7DB-157E947223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255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5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BEB0B83-71B2-4B29-A7DB-157E947223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708B96-AB04-483D-8F87-626E796364A3}" type="datetime1">
              <a:rPr lang="de-DE" smtClean="0"/>
              <a:t>16.10.23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gility &amp; Innovation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Nr.›</a:t>
            </a:fld>
            <a:endParaRPr lang="en-GB" dirty="0"/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  <p:sp>
        <p:nvSpPr>
          <p:cNvPr id="7" name="Diagrammplatzhalter 6">
            <a:extLst>
              <a:ext uri="{FF2B5EF4-FFF2-40B4-BE49-F238E27FC236}">
                <a16:creationId xmlns:a16="http://schemas.microsoft.com/office/drawing/2014/main" id="{EED96E30-58A9-71CA-8ED9-3B505FD99B2B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515937" y="2781300"/>
            <a:ext cx="11160126" cy="336804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Add diagram by clicking on symbo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022E179-20CB-DC56-C7B5-1E365ED04F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29" y="6149340"/>
            <a:ext cx="11160134" cy="210186"/>
          </a:xfrm>
        </p:spPr>
        <p:txBody>
          <a:bodyPr anchor="b"/>
          <a:lstStyle>
            <a:lvl1pPr marL="0" indent="0" algn="ctr">
              <a:spcAft>
                <a:spcPts val="0"/>
              </a:spcAft>
              <a:buNone/>
              <a:defRPr sz="700"/>
            </a:lvl1pPr>
            <a:lvl2pPr>
              <a:spcAft>
                <a:spcPts val="0"/>
              </a:spcAft>
              <a:defRPr sz="1200"/>
            </a:lvl2pPr>
            <a:lvl3pPr>
              <a:spcAft>
                <a:spcPts val="0"/>
              </a:spcAft>
              <a:defRPr sz="1200"/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de-DE" dirty="0"/>
              <a:t>Caption</a:t>
            </a:r>
          </a:p>
        </p:txBody>
      </p:sp>
      <p:sp>
        <p:nvSpPr>
          <p:cNvPr id="3" name="Textplatzhalter 11">
            <a:extLst>
              <a:ext uri="{FF2B5EF4-FFF2-40B4-BE49-F238E27FC236}">
                <a16:creationId xmlns:a16="http://schemas.microsoft.com/office/drawing/2014/main" id="{966390F2-C6C1-B6A7-D976-EBC435E22A0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5937" y="1743076"/>
            <a:ext cx="11160125" cy="85725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3"/>
            <a:r>
              <a:rPr lang="en-GB" dirty="0"/>
              <a:t>Text</a:t>
            </a:r>
          </a:p>
          <a:p>
            <a:pPr lvl="4"/>
            <a:r>
              <a:rPr lang="en-GB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98016536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text and diagram on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D60CA3A-A450-48B6-9819-1F7AAD54EA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7898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9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D60CA3A-A450-48B6-9819-1F7AAD54EA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F29BA2D-0E4F-4FC5-9834-F189E449E101}" type="datetime1">
              <a:rPr lang="de-DE" smtClean="0"/>
              <a:t>16.10.23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Agility &amp; Innovation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  <p:sp>
        <p:nvSpPr>
          <p:cNvPr id="7" name="Diagrammplatzhalter 6">
            <a:extLst>
              <a:ext uri="{FF2B5EF4-FFF2-40B4-BE49-F238E27FC236}">
                <a16:creationId xmlns:a16="http://schemas.microsoft.com/office/drawing/2014/main" id="{EED96E30-58A9-71CA-8ED9-3B505FD99B2B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515937" y="2781300"/>
            <a:ext cx="11160126" cy="336804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dd diagram by clicking on symbo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022E179-20CB-DC56-C7B5-1E365ED04F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29" y="6149340"/>
            <a:ext cx="11160134" cy="210186"/>
          </a:xfrm>
        </p:spPr>
        <p:txBody>
          <a:bodyPr anchor="b"/>
          <a:lstStyle>
            <a:lvl1pPr marL="0" indent="0" algn="ctr"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1200"/>
            </a:lvl2pPr>
            <a:lvl3pPr>
              <a:spcAft>
                <a:spcPts val="0"/>
              </a:spcAft>
              <a:defRPr sz="1200"/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de-DE" dirty="0"/>
              <a:t>Caption</a:t>
            </a:r>
          </a:p>
        </p:txBody>
      </p:sp>
      <p:sp>
        <p:nvSpPr>
          <p:cNvPr id="3" name="Textplatzhalter 11">
            <a:extLst>
              <a:ext uri="{FF2B5EF4-FFF2-40B4-BE49-F238E27FC236}">
                <a16:creationId xmlns:a16="http://schemas.microsoft.com/office/drawing/2014/main" id="{966390F2-C6C1-B6A7-D976-EBC435E22A0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5937" y="1743076"/>
            <a:ext cx="11160125" cy="857250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3"/>
            <a:r>
              <a:rPr lang="en-GB" dirty="0"/>
              <a:t>Text</a:t>
            </a:r>
          </a:p>
          <a:p>
            <a:pPr lvl="4"/>
            <a:r>
              <a:rPr lang="en-GB" dirty="0"/>
              <a:t>Text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6DE164ED-9A25-4668-B131-052B327752B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8579" y="6423258"/>
            <a:ext cx="562147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804111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text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D30577F-2C43-404C-88BF-36310233DD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5696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3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1D30577F-2C43-404C-88BF-36310233DD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814996-6938-46C2-9B0D-82F8A83F4A76}" type="datetime1">
              <a:rPr lang="de-DE" smtClean="0"/>
              <a:t>16.10.23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gility &amp; Innovation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Nr.›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7" y="1743076"/>
            <a:ext cx="11160125" cy="85725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3"/>
            <a:r>
              <a:rPr lang="en-GB" dirty="0"/>
              <a:t>Text</a:t>
            </a:r>
          </a:p>
          <a:p>
            <a:pPr lvl="4"/>
            <a:r>
              <a:rPr lang="en-GB" dirty="0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  <p:sp>
        <p:nvSpPr>
          <p:cNvPr id="8" name="Tabellenplatzhalter 7">
            <a:extLst>
              <a:ext uri="{FF2B5EF4-FFF2-40B4-BE49-F238E27FC236}">
                <a16:creationId xmlns:a16="http://schemas.microsoft.com/office/drawing/2014/main" id="{4377F723-D7D0-EAC4-253E-03A4815F6B68}"/>
              </a:ext>
            </a:extLst>
          </p:cNvPr>
          <p:cNvSpPr>
            <a:spLocks noGrp="1"/>
          </p:cNvSpPr>
          <p:nvPr>
            <p:ph type="tbl" sz="quarter" idx="17" hasCustomPrompt="1"/>
          </p:nvPr>
        </p:nvSpPr>
        <p:spPr>
          <a:xfrm>
            <a:off x="515938" y="2781300"/>
            <a:ext cx="11160126" cy="356393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able by clicking on symbol</a:t>
            </a:r>
          </a:p>
        </p:txBody>
      </p:sp>
    </p:spTree>
    <p:extLst>
      <p:ext uri="{BB962C8B-B14F-4D97-AF65-F5344CB8AC3E}">
        <p14:creationId xmlns:p14="http://schemas.microsoft.com/office/powerpoint/2010/main" val="234588850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tro page on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926ABAB-3B51-4FA0-A37A-D313476FB3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65805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7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926ABAB-3B51-4FA0-A37A-D313476FB3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5006EAC-E5DE-9A83-860B-70B865E7B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7" y="3825240"/>
            <a:ext cx="11160125" cy="1021080"/>
          </a:xfrm>
        </p:spPr>
        <p:txBody>
          <a:bodyPr vert="horz" anchor="t"/>
          <a:lstStyle>
            <a:lvl1pPr>
              <a:defRPr sz="5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hank you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41FFF01-E3C4-E50B-C56E-6A7ACD6F020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8" y="5463540"/>
            <a:ext cx="11160124" cy="297815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uthor Name Surname</a:t>
            </a:r>
          </a:p>
        </p:txBody>
      </p:sp>
      <p:sp>
        <p:nvSpPr>
          <p:cNvPr id="3" name="Textplatzhalter 9">
            <a:extLst>
              <a:ext uri="{FF2B5EF4-FFF2-40B4-BE49-F238E27FC236}">
                <a16:creationId xmlns:a16="http://schemas.microsoft.com/office/drawing/2014/main" id="{031A04DC-8AA1-DEEF-753E-E93960DD5D1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5783351"/>
            <a:ext cx="11160124" cy="297815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  <a:latin typeface="+mn-lt"/>
                <a:ea typeface="Inter Medium" panose="02000503000000020004" pitchFamily="2" charset="0"/>
              </a:defRPr>
            </a:lvl1pPr>
          </a:lstStyle>
          <a:p>
            <a:pPr lvl="0"/>
            <a:r>
              <a:rPr lang="en-GB" dirty="0"/>
              <a:t>Contact Details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25C6020C-104C-4E6C-BA8C-B88CB0A59F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5505" y="1171218"/>
            <a:ext cx="1740248" cy="829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350093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tro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1B002E6-44CB-43E5-ADEC-EEB4D48921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7945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1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1B002E6-44CB-43E5-ADEC-EEB4D48921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5">
            <a:extLst>
              <a:ext uri="{FF2B5EF4-FFF2-40B4-BE49-F238E27FC236}">
                <a16:creationId xmlns:a16="http://schemas.microsoft.com/office/drawing/2014/main" id="{F1A105E9-3847-68BE-C9E3-1E12D738008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85006EAC-E5DE-9A83-860B-70B865E7B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7" y="3825240"/>
            <a:ext cx="11160125" cy="1021080"/>
          </a:xfrm>
        </p:spPr>
        <p:txBody>
          <a:bodyPr vert="horz" anchor="t"/>
          <a:lstStyle>
            <a:lvl1pPr>
              <a:defRPr sz="50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Thank you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41FFF01-E3C4-E50B-C56E-6A7ACD6F020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8" y="5463540"/>
            <a:ext cx="11160124" cy="297815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</a:lstStyle>
          <a:p>
            <a:pPr lvl="0"/>
            <a:r>
              <a:rPr lang="en-GB" dirty="0"/>
              <a:t>Author Name Surname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D9A330B-18B0-57E4-83B1-F0D9C5D48C6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5505" y="1171218"/>
            <a:ext cx="1740248" cy="829417"/>
          </a:xfrm>
          <a:prstGeom prst="rect">
            <a:avLst/>
          </a:prstGeom>
        </p:spPr>
      </p:pic>
      <p:sp>
        <p:nvSpPr>
          <p:cNvPr id="6" name="Textplatzhalter 9">
            <a:extLst>
              <a:ext uri="{FF2B5EF4-FFF2-40B4-BE49-F238E27FC236}">
                <a16:creationId xmlns:a16="http://schemas.microsoft.com/office/drawing/2014/main" id="{11CB8862-93EB-4E77-6FBE-92DFF7B0CC4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5783351"/>
            <a:ext cx="11160124" cy="297815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</a:lstStyle>
          <a:p>
            <a:pPr lvl="0"/>
            <a:r>
              <a:rPr lang="en-GB" dirty="0"/>
              <a:t>Contact Details</a:t>
            </a:r>
          </a:p>
        </p:txBody>
      </p:sp>
    </p:spTree>
    <p:extLst>
      <p:ext uri="{BB962C8B-B14F-4D97-AF65-F5344CB8AC3E}">
        <p14:creationId xmlns:p14="http://schemas.microsoft.com/office/powerpoint/2010/main" val="34146535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_Copy text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8285837-3710-4AA4-9369-7C80E80474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87193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5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F8285837-3710-4AA4-9369-7C80E80474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 dirty="0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927EA7-FE4F-4F0B-8D3E-A5D0054303EE}" type="datetime1">
              <a:rPr lang="de-DE" smtClean="0"/>
              <a:t>16.10.23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gility &amp; Innovation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Nr.›</a:t>
            </a:fld>
            <a:endParaRPr lang="en-GB" dirty="0"/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BC710AA-4360-506A-3D97-5A8F85A6F0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5938" y="1390651"/>
            <a:ext cx="11160125" cy="49545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3"/>
            <a:r>
              <a:rPr lang="en-GB" dirty="0"/>
              <a:t>Text</a:t>
            </a:r>
          </a:p>
          <a:p>
            <a:pPr lvl="4"/>
            <a:r>
              <a:rPr lang="en-GB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1224243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_Copy text on white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8F897EE-CBE3-4853-BD25-72D2321F91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97966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49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F8F897EE-CBE3-4853-BD25-72D2321F91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A55CBE-B15B-4182-81D7-947C163CC2C1}" type="datetime1">
              <a:rPr lang="de-DE" smtClean="0"/>
              <a:t>16.10.23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gility &amp; Innovation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Nr.›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1390651"/>
            <a:ext cx="5472110" cy="4954587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3"/>
            <a:r>
              <a:rPr lang="en-GB" dirty="0"/>
              <a:t>Text</a:t>
            </a:r>
          </a:p>
          <a:p>
            <a:pPr lvl="4"/>
            <a:r>
              <a:rPr lang="en-GB" dirty="0"/>
              <a:t>Text</a:t>
            </a:r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70D8A835-9701-8957-006D-288D1F9303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3953" y="1390651"/>
            <a:ext cx="5472110" cy="4954587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  <a:endParaRPr lang="en-GB" dirty="0"/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5209133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_Copy text on colour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CAD8516-8086-46AC-B778-BE4F0582EB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6589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3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CAD8516-8086-46AC-B778-BE4F0582EB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B734C4-7E61-4BAB-B544-8D3C2B9E35BD}" type="datetime1">
              <a:rPr lang="de-DE" smtClean="0"/>
              <a:t>16.10.23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Agility &amp; Innovation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1390651"/>
            <a:ext cx="5472110" cy="4954587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3"/>
            <a:r>
              <a:rPr lang="en-GB" dirty="0"/>
              <a:t>Text</a:t>
            </a:r>
          </a:p>
          <a:p>
            <a:pPr lvl="4"/>
            <a:r>
              <a:rPr lang="en-GB" dirty="0"/>
              <a:t>Text</a:t>
            </a:r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70D8A835-9701-8957-006D-288D1F9303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3953" y="1390651"/>
            <a:ext cx="5472110" cy="4954587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  <a:endParaRPr lang="en-GB" dirty="0"/>
          </a:p>
        </p:txBody>
      </p:sp>
      <p:sp>
        <p:nvSpPr>
          <p:cNvPr id="8" name="Textplatzhalter 10">
            <a:extLst>
              <a:ext uri="{FF2B5EF4-FFF2-40B4-BE49-F238E27FC236}">
                <a16:creationId xmlns:a16="http://schemas.microsoft.com/office/drawing/2014/main" id="{6395D3D1-537B-C9FB-38E3-DE1A5A73C0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1CF0981F-7AC3-4901-9522-78DB43A4BD1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8579" y="6423258"/>
            <a:ext cx="562147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872492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_Text + Image (Right)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26C92D8-8F24-4139-83EA-948AE1CEA2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23637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7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F26C92D8-8F24-4139-83EA-948AE1CEA2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14">
            <a:extLst>
              <a:ext uri="{FF2B5EF4-FFF2-40B4-BE49-F238E27FC236}">
                <a16:creationId xmlns:a16="http://schemas.microsoft.com/office/drawing/2014/main" id="{49F1B917-F0D7-F764-ABEA-0C7F235E21E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16780" y="620714"/>
            <a:ext cx="6959283" cy="5724524"/>
          </a:xfrm>
          <a:prstGeom prst="roundRect">
            <a:avLst>
              <a:gd name="adj" fmla="val 2402"/>
            </a:avLst>
          </a:prstGeom>
          <a:solidFill>
            <a:schemeClr val="bg1">
              <a:lumMod val="75000"/>
            </a:schemeClr>
          </a:solidFill>
        </p:spPr>
        <p:txBody>
          <a:bodyPr lIns="72000" tIns="72000" rIns="72000" bIns="72000" anchor="ctr" anchorCtr="0"/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620714"/>
            <a:ext cx="4084638" cy="755650"/>
          </a:xfrm>
        </p:spPr>
        <p:txBody>
          <a:bodyPr vert="horz"/>
          <a:lstStyle/>
          <a:p>
            <a:r>
              <a:rPr lang="en-GB" dirty="0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CB31BC-A228-4AE0-A454-BA95148D58C9}" type="datetime1">
              <a:rPr lang="de-DE" smtClean="0"/>
              <a:t>16.10.23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gility &amp; Innovation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Nr.›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1376363"/>
            <a:ext cx="4084638" cy="496887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3"/>
            <a:r>
              <a:rPr lang="en-GB" dirty="0"/>
              <a:t>Text</a:t>
            </a:r>
          </a:p>
          <a:p>
            <a:pPr lvl="4"/>
            <a:r>
              <a:rPr lang="en-GB" dirty="0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682099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40592E-E28E-E2F0-48E6-2376C5130F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CEBC47-99A5-1601-E360-68CA3800EFE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AT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E86096E-8E13-81CB-6182-80E018B9CF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AT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0123192-61A7-0851-5C26-256016F723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C76445-A26D-4050-9E6E-29CD2C4C0996}" type="datetime1">
              <a:rPr lang="de-DE" smtClean="0"/>
              <a:t>16.10.23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ADB883C-EC78-9B3A-A902-9EE2545D28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gility &amp; Innovation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AFBCDF-B1BC-83C1-2E1E-64885A8505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684339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_Text + Image (Right) on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49C5741-D2E1-4763-8544-D1713E7E19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62074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1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49C5741-D2E1-4763-8544-D1713E7E19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14">
            <a:extLst>
              <a:ext uri="{FF2B5EF4-FFF2-40B4-BE49-F238E27FC236}">
                <a16:creationId xmlns:a16="http://schemas.microsoft.com/office/drawing/2014/main" id="{49F1B917-F0D7-F764-ABEA-0C7F235E21E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16780" y="620714"/>
            <a:ext cx="6959283" cy="5724524"/>
          </a:xfrm>
          <a:prstGeom prst="roundRect">
            <a:avLst>
              <a:gd name="adj" fmla="val 2402"/>
            </a:avLst>
          </a:prstGeom>
          <a:solidFill>
            <a:schemeClr val="bg1">
              <a:lumMod val="75000"/>
            </a:schemeClr>
          </a:solidFill>
        </p:spPr>
        <p:txBody>
          <a:bodyPr lIns="72000" tIns="72000" rIns="72000" bIns="72000" anchor="ctr" anchorCtr="0"/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620714"/>
            <a:ext cx="4084638" cy="75565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5505211-D12C-45CB-A5F2-C56C18D39C32}" type="datetime1">
              <a:rPr lang="de-DE" smtClean="0"/>
              <a:t>16.10.23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Agility &amp; Innovation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1376363"/>
            <a:ext cx="4084638" cy="4968875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3"/>
            <a:r>
              <a:rPr lang="en-GB" dirty="0"/>
              <a:t>Text</a:t>
            </a:r>
          </a:p>
          <a:p>
            <a:pPr lvl="4"/>
            <a:r>
              <a:rPr lang="en-GB" dirty="0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CF7B510A-9A7C-4114-B6F5-EAA1E547079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8579" y="6423258"/>
            <a:ext cx="562147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761321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_Text + Diagram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050D652-7249-43BF-96C1-39A6CF6D9F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42094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5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1050D652-7249-43BF-96C1-39A6CF6D9F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B1A06A-4121-424D-B07C-44DE4F3DB391}" type="datetime1">
              <a:rPr lang="de-DE" smtClean="0"/>
              <a:t>16.10.23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gility &amp; Innovation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Nr.›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1376364"/>
            <a:ext cx="5472110" cy="496887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3"/>
            <a:r>
              <a:rPr lang="en-GB" dirty="0"/>
              <a:t>Text</a:t>
            </a:r>
          </a:p>
          <a:p>
            <a:pPr lvl="4"/>
            <a:r>
              <a:rPr lang="en-GB" dirty="0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  <p:sp>
        <p:nvSpPr>
          <p:cNvPr id="7" name="Diagrammplatzhalter 6">
            <a:extLst>
              <a:ext uri="{FF2B5EF4-FFF2-40B4-BE49-F238E27FC236}">
                <a16:creationId xmlns:a16="http://schemas.microsoft.com/office/drawing/2014/main" id="{EED96E30-58A9-71CA-8ED9-3B505FD99B2B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6203953" y="1390651"/>
            <a:ext cx="5472109" cy="4758689"/>
          </a:xfrm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/>
              <a:t>Add diagram by clicking on symbo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022E179-20CB-DC56-C7B5-1E365ED04F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03949" y="6149340"/>
            <a:ext cx="5472113" cy="210186"/>
          </a:xfrm>
        </p:spPr>
        <p:txBody>
          <a:bodyPr anchor="b"/>
          <a:lstStyle>
            <a:lvl1pPr marL="0" indent="0" algn="ctr">
              <a:spcAft>
                <a:spcPts val="0"/>
              </a:spcAft>
              <a:buNone/>
              <a:defRPr sz="700"/>
            </a:lvl1pPr>
            <a:lvl2pPr>
              <a:spcAft>
                <a:spcPts val="0"/>
              </a:spcAft>
              <a:defRPr sz="1200"/>
            </a:lvl2pPr>
            <a:lvl3pPr>
              <a:spcAft>
                <a:spcPts val="0"/>
              </a:spcAft>
              <a:defRPr sz="1200"/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de-DE" dirty="0"/>
              <a:t>Caption</a:t>
            </a:r>
          </a:p>
        </p:txBody>
      </p:sp>
    </p:spTree>
    <p:extLst>
      <p:ext uri="{BB962C8B-B14F-4D97-AF65-F5344CB8AC3E}">
        <p14:creationId xmlns:p14="http://schemas.microsoft.com/office/powerpoint/2010/main" val="216845417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_Text + Diagram on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A88C72C-20F0-44EE-9512-6A8366BDB1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65727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69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A88C72C-20F0-44EE-9512-6A8366BDB1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1C0CB1-6A76-4E1D-A6B5-82007AE7E300}" type="datetime1">
              <a:rPr lang="de-DE" smtClean="0"/>
              <a:t>16.10.23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Agility &amp; Innovation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1376364"/>
            <a:ext cx="5472110" cy="4968874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3"/>
            <a:r>
              <a:rPr lang="en-GB" dirty="0"/>
              <a:t>Text</a:t>
            </a:r>
          </a:p>
          <a:p>
            <a:pPr lvl="4"/>
            <a:r>
              <a:rPr lang="en-GB" dirty="0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  <p:sp>
        <p:nvSpPr>
          <p:cNvPr id="7" name="Diagrammplatzhalter 6">
            <a:extLst>
              <a:ext uri="{FF2B5EF4-FFF2-40B4-BE49-F238E27FC236}">
                <a16:creationId xmlns:a16="http://schemas.microsoft.com/office/drawing/2014/main" id="{EED96E30-58A9-71CA-8ED9-3B505FD99B2B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6203953" y="1390651"/>
            <a:ext cx="5472109" cy="4758689"/>
          </a:xfrm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/>
              <a:t>Add diagram by clicking on symbo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022E179-20CB-DC56-C7B5-1E365ED04F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03949" y="6149340"/>
            <a:ext cx="5472113" cy="210186"/>
          </a:xfrm>
        </p:spPr>
        <p:txBody>
          <a:bodyPr anchor="b"/>
          <a:lstStyle>
            <a:lvl1pPr marL="0" indent="0" algn="ctr"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1200"/>
            </a:lvl2pPr>
            <a:lvl3pPr>
              <a:spcAft>
                <a:spcPts val="0"/>
              </a:spcAft>
              <a:defRPr sz="1200"/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de-DE" dirty="0"/>
              <a:t>Caption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062F4CE8-1AF8-4367-929D-75A51F2C122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8579" y="6423258"/>
            <a:ext cx="562147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212182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_Two dia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CE07ED98-75E3-4940-B61C-A89A49B310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7400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3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CE07ED98-75E3-4940-B61C-A89A49B310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DF42A7-28C6-4777-B1C6-59DFA68AC8E0}" type="datetime1">
              <a:rPr lang="de-DE" smtClean="0"/>
              <a:t>16.10.23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gility &amp; Innovation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Nr.›</a:t>
            </a:fld>
            <a:endParaRPr lang="en-GB" dirty="0"/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  <p:sp>
        <p:nvSpPr>
          <p:cNvPr id="7" name="Diagrammplatzhalter 6">
            <a:extLst>
              <a:ext uri="{FF2B5EF4-FFF2-40B4-BE49-F238E27FC236}">
                <a16:creationId xmlns:a16="http://schemas.microsoft.com/office/drawing/2014/main" id="{EED96E30-58A9-71CA-8ED9-3B505FD99B2B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6203953" y="1390651"/>
            <a:ext cx="5472109" cy="4758689"/>
          </a:xfrm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/>
              <a:t>Add diagram by clicking on symbo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022E179-20CB-DC56-C7B5-1E365ED04F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03949" y="6149340"/>
            <a:ext cx="5472113" cy="210186"/>
          </a:xfrm>
        </p:spPr>
        <p:txBody>
          <a:bodyPr anchor="b"/>
          <a:lstStyle>
            <a:lvl1pPr marL="0" indent="0" algn="ctr">
              <a:spcAft>
                <a:spcPts val="0"/>
              </a:spcAft>
              <a:buNone/>
              <a:defRPr sz="700"/>
            </a:lvl1pPr>
            <a:lvl2pPr>
              <a:spcAft>
                <a:spcPts val="0"/>
              </a:spcAft>
              <a:defRPr sz="1200"/>
            </a:lvl2pPr>
            <a:lvl3pPr>
              <a:spcAft>
                <a:spcPts val="0"/>
              </a:spcAft>
              <a:defRPr sz="1200"/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de-DE" dirty="0"/>
              <a:t>Caption</a:t>
            </a:r>
          </a:p>
        </p:txBody>
      </p:sp>
      <p:sp>
        <p:nvSpPr>
          <p:cNvPr id="3" name="Diagrammplatzhalter 6">
            <a:extLst>
              <a:ext uri="{FF2B5EF4-FFF2-40B4-BE49-F238E27FC236}">
                <a16:creationId xmlns:a16="http://schemas.microsoft.com/office/drawing/2014/main" id="{69CE1E29-E132-7375-3C58-1F528CDF3C48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515942" y="1390651"/>
            <a:ext cx="5472109" cy="4758689"/>
          </a:xfrm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en-US"/>
              <a:t>Add diagram by clicking on symbol</a:t>
            </a: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8A72BB8B-F176-96AA-F830-056601A62AA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15938" y="6149340"/>
            <a:ext cx="5472113" cy="210186"/>
          </a:xfrm>
        </p:spPr>
        <p:txBody>
          <a:bodyPr anchor="b"/>
          <a:lstStyle>
            <a:lvl1pPr marL="0" indent="0" algn="ctr">
              <a:spcAft>
                <a:spcPts val="0"/>
              </a:spcAft>
              <a:buNone/>
              <a:defRPr sz="700"/>
            </a:lvl1pPr>
            <a:lvl2pPr>
              <a:spcAft>
                <a:spcPts val="0"/>
              </a:spcAft>
              <a:defRPr sz="1200"/>
            </a:lvl2pPr>
            <a:lvl3pPr>
              <a:spcAft>
                <a:spcPts val="0"/>
              </a:spcAft>
              <a:defRPr sz="1200"/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de-DE" dirty="0"/>
              <a:t>Caption</a:t>
            </a:r>
          </a:p>
        </p:txBody>
      </p:sp>
    </p:spTree>
    <p:extLst>
      <p:ext uri="{BB962C8B-B14F-4D97-AF65-F5344CB8AC3E}">
        <p14:creationId xmlns:p14="http://schemas.microsoft.com/office/powerpoint/2010/main" val="5221892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A51124-CFEA-20AF-6221-68D6068038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7806DB-3822-64ED-8036-3B2066F63E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9D55A61-AE36-60B2-7659-5945A6C3E1A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AT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2AD0ECC-42CA-5B64-8BCE-B99F1C43079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EE51B3C-7B61-23DB-00D9-CA35ADC3458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AT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50EFE18-D6F8-6363-BC69-369EF23535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764A4-8521-4B3D-A34A-E07E787F829A}" type="datetime1">
              <a:rPr lang="de-DE" smtClean="0"/>
              <a:t>16.10.23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1DBE12D-D717-A15A-B720-6C938A3B0A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gility &amp; Innovatio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7D638DC-D166-C9FC-F23E-FD16071F8A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81350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383673-EE6B-FC59-080F-423B8EE79A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4C69F5-0F90-9ADC-F7FD-E0A2459503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9E9812-D112-447E-B079-4C0ABCCA9FAD}" type="datetime1">
              <a:rPr lang="de-DE" smtClean="0"/>
              <a:t>16.10.23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4F4FB5E-E3F3-DAE2-A1BF-989E44FA6D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gility &amp; Innovation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71C230A-657B-34BD-9D6E-88FC1A706B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87167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F90DA89-9163-A2F0-1194-091AED6692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198CA5-32B7-4939-863B-E7AE60C3B3DE}" type="datetime1">
              <a:rPr lang="de-DE" smtClean="0"/>
              <a:t>16.10.23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8A881F8-9217-FF70-F484-0EFB798ACD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gility &amp; Innovation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9B795BC-BB75-1988-47CF-D8C4862B03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59355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012490-FF45-CE40-E9AD-8C61EE4972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28D4DC-7ADA-3608-C756-B3C45107FB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A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86DBA25-49B3-2FDD-8541-BA24ECC40E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D171206-273C-E47F-385F-4970027933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BDAF58-7EEC-4AA7-8B71-7F9D2494D5CB}" type="datetime1">
              <a:rPr lang="de-DE" smtClean="0"/>
              <a:t>16.10.23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AE4367-BC7E-6F02-908A-01EB205E64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gility &amp; Innovation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EE90DAA-9554-E096-2F65-79C666D14B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52122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6DBBB9-935B-CEBA-CEF4-6A4B2D266E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10C03A4-859F-178E-0EC8-B1A578F63FB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A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E1052B-F353-9070-5A37-DFF80DBB495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D0162BD-A4AF-0770-2AB6-99F1ACABD8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6C2D0-A8B6-4081-AE27-918BEB653AA3}" type="datetime1">
              <a:rPr lang="de-DE" smtClean="0"/>
              <a:t>16.10.23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FBC0861-A3D4-E02A-A9B5-99039A6857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gility &amp; Innovation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ED9A45-7453-46C3-E188-2F6D3BF957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496480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ags" Target="../tags/tag2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ADE1047-6D89-996B-ADB8-F770BB2E89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EDBA72-B701-0746-5320-C46BA4445F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A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48F38C-88A5-F782-A257-CB7CD067F49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D99B00-BD8A-4F9F-BC79-A2FB4ECC3E0C}" type="datetime1">
              <a:rPr lang="de-DE" smtClean="0"/>
              <a:t>16.10.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53B3BF-2648-8E53-5AC3-606D5465D1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/>
              <a:t>Agility &amp; Innovation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5B5D57-AF0C-2752-D59C-2DAAE68DFE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Nr.›</a:t>
            </a:fld>
            <a:endParaRPr lang="en-GB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1E28340-C600-5F90-5964-AD9E9015FB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801614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Folie" r:id="rId47" imgW="425" imgH="424" progId="TCLayout.ActiveDocument.1">
                  <p:embed/>
                </p:oleObj>
              </mc:Choice>
              <mc:Fallback>
                <p:oleObj name="think-cell Folie" r:id="rId47" imgW="425" imgH="42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F1E28340-C600-5F90-5964-AD9E9015FB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C7EAFEE4-D924-E8A9-8E29-B802C0A15EBE}"/>
              </a:ext>
            </a:extLst>
          </p:cNvPr>
          <p:cNvPicPr>
            <a:picLocks noChangeAspect="1"/>
          </p:cNvPicPr>
          <p:nvPr userDrawn="1"/>
        </p:nvPicPr>
        <p:blipFill>
          <a:blip r:embed="rId4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7716" y="6422438"/>
            <a:ext cx="563867" cy="268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33356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18" r:id="rId1"/>
    <p:sldLayoutId id="2147483919" r:id="rId2"/>
    <p:sldLayoutId id="2147483920" r:id="rId3"/>
    <p:sldLayoutId id="2147483921" r:id="rId4"/>
    <p:sldLayoutId id="2147483922" r:id="rId5"/>
    <p:sldLayoutId id="2147483923" r:id="rId6"/>
    <p:sldLayoutId id="2147483924" r:id="rId7"/>
    <p:sldLayoutId id="2147483925" r:id="rId8"/>
    <p:sldLayoutId id="2147483926" r:id="rId9"/>
    <p:sldLayoutId id="2147483927" r:id="rId10"/>
    <p:sldLayoutId id="2147483928" r:id="rId11"/>
    <p:sldLayoutId id="2147483929" r:id="rId12"/>
    <p:sldLayoutId id="2147483649" r:id="rId13"/>
    <p:sldLayoutId id="2147483657" r:id="rId14"/>
    <p:sldLayoutId id="2147483656" r:id="rId15"/>
    <p:sldLayoutId id="2147483675" r:id="rId16"/>
    <p:sldLayoutId id="2147483658" r:id="rId17"/>
    <p:sldLayoutId id="2147483661" r:id="rId18"/>
    <p:sldLayoutId id="2147483662" r:id="rId19"/>
    <p:sldLayoutId id="2147483673" r:id="rId20"/>
    <p:sldLayoutId id="2147483672" r:id="rId21"/>
    <p:sldLayoutId id="2147483674" r:id="rId22"/>
    <p:sldLayoutId id="2147483664" r:id="rId23"/>
    <p:sldLayoutId id="2147483665" r:id="rId24"/>
    <p:sldLayoutId id="2147483667" r:id="rId25"/>
    <p:sldLayoutId id="2147483678" r:id="rId26"/>
    <p:sldLayoutId id="2147483668" r:id="rId27"/>
    <p:sldLayoutId id="2147483669" r:id="rId28"/>
    <p:sldLayoutId id="2147483679" r:id="rId29"/>
    <p:sldLayoutId id="2147483680" r:id="rId30"/>
    <p:sldLayoutId id="2147483692" r:id="rId31"/>
    <p:sldLayoutId id="2147483693" r:id="rId32"/>
    <p:sldLayoutId id="2147483691" r:id="rId33"/>
    <p:sldLayoutId id="2147483676" r:id="rId34"/>
    <p:sldLayoutId id="2147483677" r:id="rId35"/>
    <p:sldLayoutId id="2147483681" r:id="rId36"/>
    <p:sldLayoutId id="2147483683" r:id="rId37"/>
    <p:sldLayoutId id="2147483684" r:id="rId38"/>
    <p:sldLayoutId id="2147483685" r:id="rId39"/>
    <p:sldLayoutId id="2147483686" r:id="rId40"/>
    <p:sldLayoutId id="2147483687" r:id="rId41"/>
    <p:sldLayoutId id="2147483688" r:id="rId42"/>
    <p:sldLayoutId id="2147483689" r:id="rId4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25">
          <p15:clr>
            <a:srgbClr val="F26B43"/>
          </p15:clr>
        </p15:guide>
        <p15:guide id="2" pos="7355">
          <p15:clr>
            <a:srgbClr val="F26B43"/>
          </p15:clr>
        </p15:guide>
        <p15:guide id="3" orient="horz" pos="1412">
          <p15:clr>
            <a:srgbClr val="F26B43"/>
          </p15:clr>
        </p15:guide>
        <p15:guide id="4" orient="horz" pos="3997">
          <p15:clr>
            <a:srgbClr val="F26B43"/>
          </p15:clr>
        </p15:guide>
        <p15:guide id="5" orient="horz" pos="867">
          <p15:clr>
            <a:srgbClr val="F26B43"/>
          </p15:clr>
        </p15:guide>
        <p15:guide id="6" orient="horz" pos="391">
          <p15:clr>
            <a:srgbClr val="F26B43"/>
          </p15:clr>
        </p15:guide>
        <p15:guide id="7" pos="4838">
          <p15:clr>
            <a:srgbClr val="F26B43"/>
          </p15:clr>
        </p15:guide>
        <p15:guide id="8" pos="4702">
          <p15:clr>
            <a:srgbClr val="F26B43"/>
          </p15:clr>
        </p15:guide>
        <p15:guide id="9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.emf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oleObject" Target="../embeddings/oleObject34.bin"/><Relationship Id="rId5" Type="http://schemas.openxmlformats.org/officeDocument/2006/relationships/image" Target="../media/image9.jpeg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image" Target="../media/image10.emf"/><Relationship Id="rId7" Type="http://schemas.openxmlformats.org/officeDocument/2006/relationships/image" Target="../media/image14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emf"/><Relationship Id="rId5" Type="http://schemas.openxmlformats.org/officeDocument/2006/relationships/image" Target="../media/image12.emf"/><Relationship Id="rId4" Type="http://schemas.openxmlformats.org/officeDocument/2006/relationships/image" Target="../media/image11.emf"/><Relationship Id="rId9" Type="http://schemas.openxmlformats.org/officeDocument/2006/relationships/image" Target="../media/image16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3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2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conf.s-mxs.net/display/AISOL/Service+Catalogue" TargetMode="Externa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AEC59C64-E2BA-4F43-B6AD-EE78F29A6E5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21050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7" name="think-cell Folie" r:id="rId6" imgW="347" imgH="348" progId="TCLayout.ActiveDocument.1">
                  <p:embed/>
                </p:oleObj>
              </mc:Choice>
              <mc:Fallback>
                <p:oleObj name="think-cell Folie" r:id="rId6" imgW="347" imgH="34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AEC59C64-E2BA-4F43-B6AD-EE78F29A6E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E0E244E9-310D-44C8-BC0E-44FBF1D771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5938" y="3829049"/>
            <a:ext cx="5022714" cy="1571626"/>
          </a:xfrm>
        </p:spPr>
        <p:txBody>
          <a:bodyPr vert="horz">
            <a:normAutofit/>
          </a:bodyPr>
          <a:lstStyle/>
          <a:p>
            <a:r>
              <a:rPr lang="de-DE" sz="3600" dirty="0" err="1">
                <a:solidFill>
                  <a:schemeClr val="tx1"/>
                </a:solidFill>
              </a:rPr>
              <a:t>Operations</a:t>
            </a:r>
            <a:r>
              <a:rPr lang="de-DE" sz="3600" dirty="0">
                <a:solidFill>
                  <a:schemeClr val="tx1"/>
                </a:solidFill>
              </a:rPr>
              <a:t> AI Solution</a:t>
            </a:r>
            <a:endParaRPr lang="de-AT" sz="3600" dirty="0">
              <a:solidFill>
                <a:schemeClr val="tx1"/>
              </a:solidFill>
            </a:endParaRPr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76A25DD5-B637-443F-92E3-5B7DC50FD9E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 lnSpcReduction="10000"/>
          </a:bodyPr>
          <a:lstStyle/>
          <a:p>
            <a:r>
              <a:rPr lang="de-DE" dirty="0">
                <a:solidFill>
                  <a:schemeClr val="tx1"/>
                </a:solidFill>
              </a:rPr>
              <a:t>Ai Solution</a:t>
            </a:r>
            <a:endParaRPr lang="de-AT" dirty="0">
              <a:solidFill>
                <a:schemeClr val="tx1"/>
              </a:solidFill>
            </a:endParaRP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EAF5C670-4BBF-4CBE-B096-B77E4A26C09F}"/>
              </a:ext>
            </a:extLst>
          </p:cNvPr>
          <p:cNvGrpSpPr/>
          <p:nvPr/>
        </p:nvGrpSpPr>
        <p:grpSpPr>
          <a:xfrm>
            <a:off x="8868010" y="141953"/>
            <a:ext cx="2808052" cy="3414409"/>
            <a:chOff x="1178560" y="1369220"/>
            <a:chExt cx="5469636" cy="4825364"/>
          </a:xfrm>
        </p:grpSpPr>
        <p:sp>
          <p:nvSpPr>
            <p:cNvPr id="28" name="Sprechblase: rechteckig mit abgerundeten Ecken 27">
              <a:extLst>
                <a:ext uri="{FF2B5EF4-FFF2-40B4-BE49-F238E27FC236}">
                  <a16:creationId xmlns:a16="http://schemas.microsoft.com/office/drawing/2014/main" id="{6C8AB0E2-5453-42E0-99B7-770C646CE43E}"/>
                </a:ext>
              </a:extLst>
            </p:cNvPr>
            <p:cNvSpPr/>
            <p:nvPr/>
          </p:nvSpPr>
          <p:spPr>
            <a:xfrm>
              <a:off x="3643884" y="1369220"/>
              <a:ext cx="2983991" cy="873124"/>
            </a:xfrm>
            <a:prstGeom prst="wedgeRoundRectCallout">
              <a:avLst>
                <a:gd name="adj1" fmla="val 52575"/>
                <a:gd name="adj2" fmla="val 67789"/>
                <a:gd name="adj3" fmla="val 16667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7000"/>
                </a:lnSpc>
              </a:pPr>
              <a:r>
                <a:rPr lang="en-US" sz="1000" dirty="0"/>
                <a:t>Hi, what do you want</a:t>
              </a:r>
              <a:br>
                <a:rPr lang="en-US" sz="1000" dirty="0"/>
              </a:br>
              <a:r>
                <a:rPr lang="en-US" sz="1000" dirty="0"/>
                <a:t>to do  today?</a:t>
              </a:r>
              <a:endParaRPr lang="de-AT" sz="1000" dirty="0" err="1"/>
            </a:p>
          </p:txBody>
        </p:sp>
        <p:sp>
          <p:nvSpPr>
            <p:cNvPr id="29" name="Sprechblase: rechteckig mit abgerundeten Ecken 28">
              <a:extLst>
                <a:ext uri="{FF2B5EF4-FFF2-40B4-BE49-F238E27FC236}">
                  <a16:creationId xmlns:a16="http://schemas.microsoft.com/office/drawing/2014/main" id="{03C8FC8E-4C00-4B65-9956-50CE6C6AFE4F}"/>
                </a:ext>
              </a:extLst>
            </p:cNvPr>
            <p:cNvSpPr/>
            <p:nvPr/>
          </p:nvSpPr>
          <p:spPr>
            <a:xfrm>
              <a:off x="1178560" y="2439644"/>
              <a:ext cx="4109721" cy="873124"/>
            </a:xfrm>
            <a:prstGeom prst="wedgeRoundRectCallout">
              <a:avLst>
                <a:gd name="adj1" fmla="val -50021"/>
                <a:gd name="adj2" fmla="val 78368"/>
                <a:gd name="adj3" fmla="val 1666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7000"/>
                </a:lnSpc>
              </a:pPr>
              <a:r>
                <a:rPr lang="en-US" sz="1000" dirty="0"/>
                <a:t>I have a customer here with a power of attorney. What do I have to do?</a:t>
              </a:r>
              <a:endParaRPr lang="de-AT" sz="1000" dirty="0" err="1"/>
            </a:p>
          </p:txBody>
        </p:sp>
        <p:sp>
          <p:nvSpPr>
            <p:cNvPr id="30" name="Sprechblase: rechteckig mit abgerundeten Ecken 29">
              <a:extLst>
                <a:ext uri="{FF2B5EF4-FFF2-40B4-BE49-F238E27FC236}">
                  <a16:creationId xmlns:a16="http://schemas.microsoft.com/office/drawing/2014/main" id="{1F3A5214-D670-4FAA-A411-E1EBBCEBB7CE}"/>
                </a:ext>
              </a:extLst>
            </p:cNvPr>
            <p:cNvSpPr/>
            <p:nvPr/>
          </p:nvSpPr>
          <p:spPr>
            <a:xfrm>
              <a:off x="3654044" y="3482500"/>
              <a:ext cx="2983992" cy="873124"/>
            </a:xfrm>
            <a:prstGeom prst="wedgeRoundRectCallout">
              <a:avLst>
                <a:gd name="adj1" fmla="val 52575"/>
                <a:gd name="adj2" fmla="val 67789"/>
                <a:gd name="adj3" fmla="val 16667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7000"/>
                </a:lnSpc>
              </a:pPr>
              <a:r>
                <a:rPr lang="en-US" sz="1000" dirty="0"/>
                <a:t>Is the original document available?</a:t>
              </a:r>
              <a:endParaRPr lang="de-AT" sz="1000" dirty="0" err="1"/>
            </a:p>
          </p:txBody>
        </p:sp>
        <p:sp>
          <p:nvSpPr>
            <p:cNvPr id="31" name="Sprechblase: rechteckig mit abgerundeten Ecken 30">
              <a:extLst>
                <a:ext uri="{FF2B5EF4-FFF2-40B4-BE49-F238E27FC236}">
                  <a16:creationId xmlns:a16="http://schemas.microsoft.com/office/drawing/2014/main" id="{B31884E9-208C-476B-8DB5-4B5E33EFF42A}"/>
                </a:ext>
              </a:extLst>
            </p:cNvPr>
            <p:cNvSpPr/>
            <p:nvPr/>
          </p:nvSpPr>
          <p:spPr>
            <a:xfrm>
              <a:off x="1188720" y="4549908"/>
              <a:ext cx="4109720" cy="586288"/>
            </a:xfrm>
            <a:prstGeom prst="wedgeRoundRectCallout">
              <a:avLst>
                <a:gd name="adj1" fmla="val -50021"/>
                <a:gd name="adj2" fmla="val 78368"/>
                <a:gd name="adj3" fmla="val 1666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7000"/>
                </a:lnSpc>
              </a:pPr>
              <a:r>
                <a:rPr lang="en-US" sz="1000" dirty="0"/>
                <a:t>Yes</a:t>
              </a:r>
              <a:endParaRPr lang="de-AT" sz="1000" dirty="0" err="1"/>
            </a:p>
          </p:txBody>
        </p:sp>
        <p:sp>
          <p:nvSpPr>
            <p:cNvPr id="32" name="Sprechblase: rechteckig mit abgerundeten Ecken 31">
              <a:extLst>
                <a:ext uri="{FF2B5EF4-FFF2-40B4-BE49-F238E27FC236}">
                  <a16:creationId xmlns:a16="http://schemas.microsoft.com/office/drawing/2014/main" id="{AF1BBADD-EA11-497C-A15E-75693C0EFD2A}"/>
                </a:ext>
              </a:extLst>
            </p:cNvPr>
            <p:cNvSpPr/>
            <p:nvPr/>
          </p:nvSpPr>
          <p:spPr>
            <a:xfrm>
              <a:off x="3664204" y="5321460"/>
              <a:ext cx="2983992" cy="873124"/>
            </a:xfrm>
            <a:prstGeom prst="wedgeRoundRectCallout">
              <a:avLst>
                <a:gd name="adj1" fmla="val 52575"/>
                <a:gd name="adj2" fmla="val 67789"/>
                <a:gd name="adj3" fmla="val 16667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7000"/>
                </a:lnSpc>
              </a:pPr>
              <a:r>
                <a:rPr lang="en-US" sz="1000" dirty="0"/>
                <a:t>Perfect. I will guide you through the Erste process…</a:t>
              </a:r>
              <a:endParaRPr lang="de-AT" sz="1000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42928893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92E609B-FE4D-8C42-8A83-7339D5DB42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pPr/>
              <a:t>2</a:t>
            </a:fld>
            <a:endParaRPr lang="en-GB" dirty="0"/>
          </a:p>
        </p:txBody>
      </p:sp>
      <p:grpSp>
        <p:nvGrpSpPr>
          <p:cNvPr id="3" name="Google Shape;1499;p18">
            <a:extLst>
              <a:ext uri="{FF2B5EF4-FFF2-40B4-BE49-F238E27FC236}">
                <a16:creationId xmlns:a16="http://schemas.microsoft.com/office/drawing/2014/main" id="{2CEF6669-DCDE-CE8D-39D6-59CCD7522135}"/>
              </a:ext>
            </a:extLst>
          </p:cNvPr>
          <p:cNvGrpSpPr/>
          <p:nvPr/>
        </p:nvGrpSpPr>
        <p:grpSpPr>
          <a:xfrm>
            <a:off x="3942600" y="1214311"/>
            <a:ext cx="3056198" cy="4063618"/>
            <a:chOff x="3049525" y="1569750"/>
            <a:chExt cx="1724425" cy="2292850"/>
          </a:xfrm>
        </p:grpSpPr>
        <p:sp>
          <p:nvSpPr>
            <p:cNvPr id="4" name="Google Shape;1500;p18">
              <a:extLst>
                <a:ext uri="{FF2B5EF4-FFF2-40B4-BE49-F238E27FC236}">
                  <a16:creationId xmlns:a16="http://schemas.microsoft.com/office/drawing/2014/main" id="{6A43EA9A-0C90-9A21-C0E0-1A5F4B53469D}"/>
                </a:ext>
              </a:extLst>
            </p:cNvPr>
            <p:cNvSpPr/>
            <p:nvPr/>
          </p:nvSpPr>
          <p:spPr>
            <a:xfrm>
              <a:off x="3628275" y="1569750"/>
              <a:ext cx="809975" cy="441800"/>
            </a:xfrm>
            <a:custGeom>
              <a:avLst/>
              <a:gdLst/>
              <a:ahLst/>
              <a:cxnLst/>
              <a:rect l="l" t="t" r="r" b="b"/>
              <a:pathLst>
                <a:path w="32399" h="17672" extrusionOk="0">
                  <a:moveTo>
                    <a:pt x="1" y="0"/>
                  </a:moveTo>
                  <a:lnTo>
                    <a:pt x="1" y="5985"/>
                  </a:lnTo>
                  <a:cubicBezTo>
                    <a:pt x="10990" y="5985"/>
                    <a:pt x="20966" y="10451"/>
                    <a:pt x="28186" y="17671"/>
                  </a:cubicBezTo>
                  <a:lnTo>
                    <a:pt x="32398" y="13459"/>
                  </a:lnTo>
                  <a:cubicBezTo>
                    <a:pt x="24101" y="5162"/>
                    <a:pt x="12637" y="0"/>
                    <a:pt x="1" y="0"/>
                  </a:cubicBez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" name="Google Shape;1501;p18">
              <a:extLst>
                <a:ext uri="{FF2B5EF4-FFF2-40B4-BE49-F238E27FC236}">
                  <a16:creationId xmlns:a16="http://schemas.microsoft.com/office/drawing/2014/main" id="{B0C50648-6A73-E3E7-A8E6-570CDECA873E}"/>
                </a:ext>
              </a:extLst>
            </p:cNvPr>
            <p:cNvSpPr/>
            <p:nvPr/>
          </p:nvSpPr>
          <p:spPr>
            <a:xfrm>
              <a:off x="3049525" y="2137400"/>
              <a:ext cx="1157550" cy="1157525"/>
            </a:xfrm>
            <a:custGeom>
              <a:avLst/>
              <a:gdLst/>
              <a:ahLst/>
              <a:cxnLst/>
              <a:rect l="l" t="t" r="r" b="b"/>
              <a:pathLst>
                <a:path w="46302" h="46301" extrusionOk="0">
                  <a:moveTo>
                    <a:pt x="23151" y="1"/>
                  </a:moveTo>
                  <a:cubicBezTo>
                    <a:pt x="10357" y="1"/>
                    <a:pt x="1" y="10356"/>
                    <a:pt x="1" y="23151"/>
                  </a:cubicBezTo>
                  <a:cubicBezTo>
                    <a:pt x="1" y="35945"/>
                    <a:pt x="10357" y="46301"/>
                    <a:pt x="23151" y="46301"/>
                  </a:cubicBezTo>
                  <a:cubicBezTo>
                    <a:pt x="35945" y="46301"/>
                    <a:pt x="46301" y="35945"/>
                    <a:pt x="46301" y="23151"/>
                  </a:cubicBezTo>
                  <a:cubicBezTo>
                    <a:pt x="46301" y="10356"/>
                    <a:pt x="35945" y="1"/>
                    <a:pt x="23151" y="1"/>
                  </a:cubicBez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" name="Google Shape;1502;p18">
              <a:extLst>
                <a:ext uri="{FF2B5EF4-FFF2-40B4-BE49-F238E27FC236}">
                  <a16:creationId xmlns:a16="http://schemas.microsoft.com/office/drawing/2014/main" id="{B20AD8C1-C2CF-AB97-DC2F-37CD5F7D31FF}"/>
                </a:ext>
              </a:extLst>
            </p:cNvPr>
            <p:cNvSpPr/>
            <p:nvPr/>
          </p:nvSpPr>
          <p:spPr>
            <a:xfrm>
              <a:off x="3078025" y="2215575"/>
              <a:ext cx="1099750" cy="1001175"/>
            </a:xfrm>
            <a:custGeom>
              <a:avLst/>
              <a:gdLst/>
              <a:ahLst/>
              <a:cxnLst/>
              <a:rect l="l" t="t" r="r" b="b"/>
              <a:pathLst>
                <a:path w="43990" h="40047" extrusionOk="0">
                  <a:moveTo>
                    <a:pt x="21995" y="1"/>
                  </a:moveTo>
                  <a:cubicBezTo>
                    <a:pt x="16865" y="1"/>
                    <a:pt x="11734" y="1957"/>
                    <a:pt x="7823" y="5868"/>
                  </a:cubicBezTo>
                  <a:cubicBezTo>
                    <a:pt x="1" y="13690"/>
                    <a:pt x="1" y="26357"/>
                    <a:pt x="7823" y="34180"/>
                  </a:cubicBezTo>
                  <a:cubicBezTo>
                    <a:pt x="11734" y="38091"/>
                    <a:pt x="16865" y="40046"/>
                    <a:pt x="21995" y="40046"/>
                  </a:cubicBezTo>
                  <a:cubicBezTo>
                    <a:pt x="27126" y="40046"/>
                    <a:pt x="32256" y="38091"/>
                    <a:pt x="36167" y="34180"/>
                  </a:cubicBezTo>
                  <a:cubicBezTo>
                    <a:pt x="43989" y="26357"/>
                    <a:pt x="43989" y="13690"/>
                    <a:pt x="36167" y="5868"/>
                  </a:cubicBezTo>
                  <a:cubicBezTo>
                    <a:pt x="32256" y="1957"/>
                    <a:pt x="27126" y="1"/>
                    <a:pt x="2199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" name="Google Shape;1503;p18">
              <a:extLst>
                <a:ext uri="{FF2B5EF4-FFF2-40B4-BE49-F238E27FC236}">
                  <a16:creationId xmlns:a16="http://schemas.microsoft.com/office/drawing/2014/main" id="{A4ACE0F8-8175-83B4-0D2A-028DD7E140FE}"/>
                </a:ext>
              </a:extLst>
            </p:cNvPr>
            <p:cNvSpPr/>
            <p:nvPr/>
          </p:nvSpPr>
          <p:spPr>
            <a:xfrm>
              <a:off x="4361425" y="2372550"/>
              <a:ext cx="47525" cy="47525"/>
            </a:xfrm>
            <a:custGeom>
              <a:avLst/>
              <a:gdLst/>
              <a:ahLst/>
              <a:cxnLst/>
              <a:rect l="l" t="t" r="r" b="b"/>
              <a:pathLst>
                <a:path w="1901" h="1901" extrusionOk="0">
                  <a:moveTo>
                    <a:pt x="951" y="460"/>
                  </a:moveTo>
                  <a:cubicBezTo>
                    <a:pt x="1077" y="460"/>
                    <a:pt x="1204" y="507"/>
                    <a:pt x="1299" y="602"/>
                  </a:cubicBezTo>
                  <a:cubicBezTo>
                    <a:pt x="1394" y="697"/>
                    <a:pt x="1426" y="824"/>
                    <a:pt x="1426" y="950"/>
                  </a:cubicBezTo>
                  <a:cubicBezTo>
                    <a:pt x="1426" y="1077"/>
                    <a:pt x="1394" y="1204"/>
                    <a:pt x="1299" y="1299"/>
                  </a:cubicBezTo>
                  <a:cubicBezTo>
                    <a:pt x="1204" y="1394"/>
                    <a:pt x="1077" y="1441"/>
                    <a:pt x="951" y="1441"/>
                  </a:cubicBezTo>
                  <a:cubicBezTo>
                    <a:pt x="824" y="1441"/>
                    <a:pt x="697" y="1394"/>
                    <a:pt x="602" y="1299"/>
                  </a:cubicBezTo>
                  <a:cubicBezTo>
                    <a:pt x="507" y="1204"/>
                    <a:pt x="444" y="1077"/>
                    <a:pt x="444" y="950"/>
                  </a:cubicBezTo>
                  <a:cubicBezTo>
                    <a:pt x="444" y="824"/>
                    <a:pt x="507" y="697"/>
                    <a:pt x="602" y="602"/>
                  </a:cubicBezTo>
                  <a:cubicBezTo>
                    <a:pt x="697" y="507"/>
                    <a:pt x="824" y="460"/>
                    <a:pt x="951" y="460"/>
                  </a:cubicBezTo>
                  <a:close/>
                  <a:moveTo>
                    <a:pt x="939" y="0"/>
                  </a:moveTo>
                  <a:cubicBezTo>
                    <a:pt x="697" y="0"/>
                    <a:pt x="460" y="95"/>
                    <a:pt x="286" y="285"/>
                  </a:cubicBezTo>
                  <a:cubicBezTo>
                    <a:pt x="96" y="475"/>
                    <a:pt x="1" y="697"/>
                    <a:pt x="1" y="950"/>
                  </a:cubicBezTo>
                  <a:cubicBezTo>
                    <a:pt x="1" y="1204"/>
                    <a:pt x="96" y="1457"/>
                    <a:pt x="286" y="1615"/>
                  </a:cubicBezTo>
                  <a:cubicBezTo>
                    <a:pt x="476" y="1805"/>
                    <a:pt x="697" y="1900"/>
                    <a:pt x="951" y="1900"/>
                  </a:cubicBezTo>
                  <a:cubicBezTo>
                    <a:pt x="1172" y="1900"/>
                    <a:pt x="1426" y="1805"/>
                    <a:pt x="1616" y="1615"/>
                  </a:cubicBezTo>
                  <a:cubicBezTo>
                    <a:pt x="1806" y="1457"/>
                    <a:pt x="1901" y="1204"/>
                    <a:pt x="1901" y="950"/>
                  </a:cubicBezTo>
                  <a:cubicBezTo>
                    <a:pt x="1901" y="697"/>
                    <a:pt x="1806" y="475"/>
                    <a:pt x="1616" y="285"/>
                  </a:cubicBezTo>
                  <a:cubicBezTo>
                    <a:pt x="1426" y="95"/>
                    <a:pt x="1180" y="0"/>
                    <a:pt x="939" y="0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" name="Google Shape;1504;p18">
              <a:extLst>
                <a:ext uri="{FF2B5EF4-FFF2-40B4-BE49-F238E27FC236}">
                  <a16:creationId xmlns:a16="http://schemas.microsoft.com/office/drawing/2014/main" id="{998A94D6-24D9-4C06-FFEC-28163FCF41A9}"/>
                </a:ext>
              </a:extLst>
            </p:cNvPr>
            <p:cNvSpPr/>
            <p:nvPr/>
          </p:nvSpPr>
          <p:spPr>
            <a:xfrm>
              <a:off x="4247425" y="2319500"/>
              <a:ext cx="213775" cy="213800"/>
            </a:xfrm>
            <a:custGeom>
              <a:avLst/>
              <a:gdLst/>
              <a:ahLst/>
              <a:cxnLst/>
              <a:rect l="l" t="t" r="r" b="b"/>
              <a:pathLst>
                <a:path w="8551" h="8552" extrusionOk="0">
                  <a:moveTo>
                    <a:pt x="2424" y="2314"/>
                  </a:moveTo>
                  <a:cubicBezTo>
                    <a:pt x="2693" y="2314"/>
                    <a:pt x="2927" y="2373"/>
                    <a:pt x="3104" y="2439"/>
                  </a:cubicBezTo>
                  <a:cubicBezTo>
                    <a:pt x="2724" y="2787"/>
                    <a:pt x="2407" y="3167"/>
                    <a:pt x="2090" y="3579"/>
                  </a:cubicBezTo>
                  <a:cubicBezTo>
                    <a:pt x="1679" y="3326"/>
                    <a:pt x="1109" y="3262"/>
                    <a:pt x="697" y="3262"/>
                  </a:cubicBezTo>
                  <a:cubicBezTo>
                    <a:pt x="1296" y="2519"/>
                    <a:pt x="1921" y="2314"/>
                    <a:pt x="2424" y="2314"/>
                  </a:cubicBezTo>
                  <a:close/>
                  <a:moveTo>
                    <a:pt x="8076" y="476"/>
                  </a:moveTo>
                  <a:cubicBezTo>
                    <a:pt x="7981" y="1331"/>
                    <a:pt x="7506" y="3832"/>
                    <a:pt x="5004" y="5859"/>
                  </a:cubicBezTo>
                  <a:lnTo>
                    <a:pt x="4972" y="5891"/>
                  </a:lnTo>
                  <a:cubicBezTo>
                    <a:pt x="4592" y="6176"/>
                    <a:pt x="4212" y="6461"/>
                    <a:pt x="3769" y="6714"/>
                  </a:cubicBezTo>
                  <a:lnTo>
                    <a:pt x="1869" y="4814"/>
                  </a:lnTo>
                  <a:cubicBezTo>
                    <a:pt x="3990" y="1204"/>
                    <a:pt x="7252" y="602"/>
                    <a:pt x="8076" y="476"/>
                  </a:cubicBezTo>
                  <a:close/>
                  <a:moveTo>
                    <a:pt x="1837" y="5416"/>
                  </a:moveTo>
                  <a:lnTo>
                    <a:pt x="3135" y="6714"/>
                  </a:lnTo>
                  <a:lnTo>
                    <a:pt x="2565" y="6999"/>
                  </a:lnTo>
                  <a:lnTo>
                    <a:pt x="1584" y="6018"/>
                  </a:lnTo>
                  <a:lnTo>
                    <a:pt x="1837" y="5416"/>
                  </a:lnTo>
                  <a:close/>
                  <a:moveTo>
                    <a:pt x="6112" y="5479"/>
                  </a:moveTo>
                  <a:cubicBezTo>
                    <a:pt x="6271" y="5954"/>
                    <a:pt x="6429" y="6936"/>
                    <a:pt x="5289" y="7854"/>
                  </a:cubicBezTo>
                  <a:cubicBezTo>
                    <a:pt x="5289" y="7443"/>
                    <a:pt x="5226" y="6873"/>
                    <a:pt x="4972" y="6461"/>
                  </a:cubicBezTo>
                  <a:cubicBezTo>
                    <a:pt x="5067" y="6398"/>
                    <a:pt x="5131" y="6334"/>
                    <a:pt x="5226" y="6271"/>
                  </a:cubicBezTo>
                  <a:cubicBezTo>
                    <a:pt x="5257" y="6239"/>
                    <a:pt x="5289" y="6208"/>
                    <a:pt x="5321" y="6176"/>
                  </a:cubicBezTo>
                  <a:cubicBezTo>
                    <a:pt x="5384" y="6144"/>
                    <a:pt x="5447" y="6081"/>
                    <a:pt x="5511" y="6049"/>
                  </a:cubicBezTo>
                  <a:cubicBezTo>
                    <a:pt x="5732" y="5859"/>
                    <a:pt x="5922" y="5669"/>
                    <a:pt x="6112" y="5479"/>
                  </a:cubicBezTo>
                  <a:close/>
                  <a:moveTo>
                    <a:pt x="8329" y="0"/>
                  </a:moveTo>
                  <a:cubicBezTo>
                    <a:pt x="8297" y="0"/>
                    <a:pt x="7221" y="32"/>
                    <a:pt x="5827" y="634"/>
                  </a:cubicBezTo>
                  <a:cubicBezTo>
                    <a:pt x="4972" y="982"/>
                    <a:pt x="4212" y="1489"/>
                    <a:pt x="3484" y="2122"/>
                  </a:cubicBezTo>
                  <a:cubicBezTo>
                    <a:pt x="3207" y="1972"/>
                    <a:pt x="2829" y="1856"/>
                    <a:pt x="2404" y="1856"/>
                  </a:cubicBezTo>
                  <a:cubicBezTo>
                    <a:pt x="1662" y="1856"/>
                    <a:pt x="777" y="2210"/>
                    <a:pt x="32" y="3357"/>
                  </a:cubicBezTo>
                  <a:cubicBezTo>
                    <a:pt x="32" y="3421"/>
                    <a:pt x="0" y="3452"/>
                    <a:pt x="0" y="3484"/>
                  </a:cubicBezTo>
                  <a:cubicBezTo>
                    <a:pt x="0" y="3547"/>
                    <a:pt x="32" y="3579"/>
                    <a:pt x="32" y="3611"/>
                  </a:cubicBezTo>
                  <a:cubicBezTo>
                    <a:pt x="84" y="3662"/>
                    <a:pt x="135" y="3714"/>
                    <a:pt x="204" y="3714"/>
                  </a:cubicBezTo>
                  <a:cubicBezTo>
                    <a:pt x="220" y="3714"/>
                    <a:pt x="236" y="3712"/>
                    <a:pt x="254" y="3706"/>
                  </a:cubicBezTo>
                  <a:cubicBezTo>
                    <a:pt x="333" y="3698"/>
                    <a:pt x="446" y="3692"/>
                    <a:pt x="577" y="3692"/>
                  </a:cubicBezTo>
                  <a:cubicBezTo>
                    <a:pt x="970" y="3692"/>
                    <a:pt x="1528" y="3745"/>
                    <a:pt x="1837" y="3959"/>
                  </a:cubicBezTo>
                  <a:cubicBezTo>
                    <a:pt x="1679" y="4212"/>
                    <a:pt x="1520" y="4466"/>
                    <a:pt x="1394" y="4719"/>
                  </a:cubicBezTo>
                  <a:cubicBezTo>
                    <a:pt x="1362" y="4751"/>
                    <a:pt x="1362" y="4782"/>
                    <a:pt x="1362" y="4846"/>
                  </a:cubicBezTo>
                  <a:cubicBezTo>
                    <a:pt x="1362" y="4909"/>
                    <a:pt x="1362" y="4941"/>
                    <a:pt x="1425" y="5004"/>
                  </a:cubicBezTo>
                  <a:lnTo>
                    <a:pt x="1489" y="5068"/>
                  </a:lnTo>
                  <a:lnTo>
                    <a:pt x="1109" y="5954"/>
                  </a:lnTo>
                  <a:cubicBezTo>
                    <a:pt x="1109" y="5986"/>
                    <a:pt x="1077" y="6018"/>
                    <a:pt x="1077" y="6049"/>
                  </a:cubicBezTo>
                  <a:cubicBezTo>
                    <a:pt x="1077" y="6113"/>
                    <a:pt x="1109" y="6176"/>
                    <a:pt x="1140" y="6208"/>
                  </a:cubicBezTo>
                  <a:lnTo>
                    <a:pt x="2344" y="7411"/>
                  </a:lnTo>
                  <a:cubicBezTo>
                    <a:pt x="2390" y="7457"/>
                    <a:pt x="2453" y="7487"/>
                    <a:pt x="2521" y="7487"/>
                  </a:cubicBezTo>
                  <a:cubicBezTo>
                    <a:pt x="2546" y="7487"/>
                    <a:pt x="2572" y="7483"/>
                    <a:pt x="2597" y="7474"/>
                  </a:cubicBezTo>
                  <a:lnTo>
                    <a:pt x="3484" y="7063"/>
                  </a:lnTo>
                  <a:lnTo>
                    <a:pt x="3579" y="7158"/>
                  </a:lnTo>
                  <a:cubicBezTo>
                    <a:pt x="3616" y="7195"/>
                    <a:pt x="3675" y="7210"/>
                    <a:pt x="3730" y="7210"/>
                  </a:cubicBezTo>
                  <a:cubicBezTo>
                    <a:pt x="3769" y="7210"/>
                    <a:pt x="3806" y="7202"/>
                    <a:pt x="3832" y="7189"/>
                  </a:cubicBezTo>
                  <a:cubicBezTo>
                    <a:pt x="4085" y="7031"/>
                    <a:pt x="4339" y="6873"/>
                    <a:pt x="4592" y="6714"/>
                  </a:cubicBezTo>
                  <a:cubicBezTo>
                    <a:pt x="4877" y="7158"/>
                    <a:pt x="4846" y="7981"/>
                    <a:pt x="4814" y="8298"/>
                  </a:cubicBezTo>
                  <a:cubicBezTo>
                    <a:pt x="4814" y="8361"/>
                    <a:pt x="4846" y="8456"/>
                    <a:pt x="4941" y="8519"/>
                  </a:cubicBezTo>
                  <a:cubicBezTo>
                    <a:pt x="4972" y="8519"/>
                    <a:pt x="5004" y="8551"/>
                    <a:pt x="5036" y="8551"/>
                  </a:cubicBezTo>
                  <a:cubicBezTo>
                    <a:pt x="5099" y="8551"/>
                    <a:pt x="5131" y="8519"/>
                    <a:pt x="5162" y="8519"/>
                  </a:cubicBezTo>
                  <a:cubicBezTo>
                    <a:pt x="6967" y="7348"/>
                    <a:pt x="6809" y="5828"/>
                    <a:pt x="6461" y="5068"/>
                  </a:cubicBezTo>
                  <a:cubicBezTo>
                    <a:pt x="8487" y="2756"/>
                    <a:pt x="8551" y="286"/>
                    <a:pt x="8551" y="254"/>
                  </a:cubicBezTo>
                  <a:cubicBezTo>
                    <a:pt x="8551" y="191"/>
                    <a:pt x="8551" y="127"/>
                    <a:pt x="8487" y="96"/>
                  </a:cubicBezTo>
                  <a:cubicBezTo>
                    <a:pt x="8456" y="32"/>
                    <a:pt x="8392" y="0"/>
                    <a:pt x="8329" y="0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" name="Google Shape;1505;p18">
              <a:extLst>
                <a:ext uri="{FF2B5EF4-FFF2-40B4-BE49-F238E27FC236}">
                  <a16:creationId xmlns:a16="http://schemas.microsoft.com/office/drawing/2014/main" id="{CE5A3E16-9177-24A5-20F4-CED5B18F3127}"/>
                </a:ext>
              </a:extLst>
            </p:cNvPr>
            <p:cNvSpPr/>
            <p:nvPr/>
          </p:nvSpPr>
          <p:spPr>
            <a:xfrm>
              <a:off x="4241875" y="2497625"/>
              <a:ext cx="41975" cy="42000"/>
            </a:xfrm>
            <a:custGeom>
              <a:avLst/>
              <a:gdLst/>
              <a:ahLst/>
              <a:cxnLst/>
              <a:rect l="l" t="t" r="r" b="b"/>
              <a:pathLst>
                <a:path w="1679" h="1680" extrusionOk="0">
                  <a:moveTo>
                    <a:pt x="1457" y="1"/>
                  </a:moveTo>
                  <a:cubicBezTo>
                    <a:pt x="1394" y="1"/>
                    <a:pt x="1331" y="33"/>
                    <a:pt x="1267" y="64"/>
                  </a:cubicBezTo>
                  <a:lnTo>
                    <a:pt x="64" y="1299"/>
                  </a:lnTo>
                  <a:cubicBezTo>
                    <a:pt x="32" y="1331"/>
                    <a:pt x="0" y="1394"/>
                    <a:pt x="0" y="1458"/>
                  </a:cubicBezTo>
                  <a:cubicBezTo>
                    <a:pt x="0" y="1521"/>
                    <a:pt x="32" y="1584"/>
                    <a:pt x="64" y="1616"/>
                  </a:cubicBezTo>
                  <a:cubicBezTo>
                    <a:pt x="95" y="1648"/>
                    <a:pt x="159" y="1679"/>
                    <a:pt x="222" y="1679"/>
                  </a:cubicBezTo>
                  <a:cubicBezTo>
                    <a:pt x="286" y="1679"/>
                    <a:pt x="349" y="1648"/>
                    <a:pt x="381" y="1616"/>
                  </a:cubicBezTo>
                  <a:lnTo>
                    <a:pt x="1616" y="381"/>
                  </a:lnTo>
                  <a:cubicBezTo>
                    <a:pt x="1647" y="349"/>
                    <a:pt x="1679" y="286"/>
                    <a:pt x="1679" y="223"/>
                  </a:cubicBezTo>
                  <a:cubicBezTo>
                    <a:pt x="1679" y="159"/>
                    <a:pt x="1647" y="96"/>
                    <a:pt x="1616" y="64"/>
                  </a:cubicBezTo>
                  <a:cubicBezTo>
                    <a:pt x="1552" y="33"/>
                    <a:pt x="1521" y="1"/>
                    <a:pt x="1457" y="1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" name="Google Shape;1506;p18">
              <a:extLst>
                <a:ext uri="{FF2B5EF4-FFF2-40B4-BE49-F238E27FC236}">
                  <a16:creationId xmlns:a16="http://schemas.microsoft.com/office/drawing/2014/main" id="{7D0DF5E5-0207-AEC2-2D73-269D4B8157BA}"/>
                </a:ext>
              </a:extLst>
            </p:cNvPr>
            <p:cNvSpPr/>
            <p:nvPr/>
          </p:nvSpPr>
          <p:spPr>
            <a:xfrm>
              <a:off x="4237925" y="2484975"/>
              <a:ext cx="33275" cy="32475"/>
            </a:xfrm>
            <a:custGeom>
              <a:avLst/>
              <a:gdLst/>
              <a:ahLst/>
              <a:cxnLst/>
              <a:rect l="l" t="t" r="r" b="b"/>
              <a:pathLst>
                <a:path w="1331" h="1299" extrusionOk="0">
                  <a:moveTo>
                    <a:pt x="1077" y="0"/>
                  </a:moveTo>
                  <a:cubicBezTo>
                    <a:pt x="1045" y="0"/>
                    <a:pt x="982" y="32"/>
                    <a:pt x="919" y="64"/>
                  </a:cubicBezTo>
                  <a:lnTo>
                    <a:pt x="63" y="919"/>
                  </a:lnTo>
                  <a:cubicBezTo>
                    <a:pt x="32" y="950"/>
                    <a:pt x="0" y="1014"/>
                    <a:pt x="0" y="1077"/>
                  </a:cubicBezTo>
                  <a:cubicBezTo>
                    <a:pt x="0" y="1140"/>
                    <a:pt x="32" y="1204"/>
                    <a:pt x="63" y="1235"/>
                  </a:cubicBezTo>
                  <a:cubicBezTo>
                    <a:pt x="127" y="1267"/>
                    <a:pt x="190" y="1299"/>
                    <a:pt x="253" y="1299"/>
                  </a:cubicBezTo>
                  <a:cubicBezTo>
                    <a:pt x="317" y="1299"/>
                    <a:pt x="348" y="1299"/>
                    <a:pt x="412" y="1235"/>
                  </a:cubicBezTo>
                  <a:lnTo>
                    <a:pt x="1267" y="380"/>
                  </a:lnTo>
                  <a:cubicBezTo>
                    <a:pt x="1299" y="349"/>
                    <a:pt x="1330" y="285"/>
                    <a:pt x="1330" y="222"/>
                  </a:cubicBezTo>
                  <a:cubicBezTo>
                    <a:pt x="1330" y="159"/>
                    <a:pt x="1299" y="95"/>
                    <a:pt x="1267" y="64"/>
                  </a:cubicBezTo>
                  <a:cubicBezTo>
                    <a:pt x="1204" y="32"/>
                    <a:pt x="1172" y="0"/>
                    <a:pt x="1077" y="0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" name="Google Shape;1507;p18">
              <a:extLst>
                <a:ext uri="{FF2B5EF4-FFF2-40B4-BE49-F238E27FC236}">
                  <a16:creationId xmlns:a16="http://schemas.microsoft.com/office/drawing/2014/main" id="{54AFBA65-68B7-B9EE-F95A-9E41FE5F6697}"/>
                </a:ext>
              </a:extLst>
            </p:cNvPr>
            <p:cNvSpPr/>
            <p:nvPr/>
          </p:nvSpPr>
          <p:spPr>
            <a:xfrm>
              <a:off x="4264050" y="2510300"/>
              <a:ext cx="32475" cy="32500"/>
            </a:xfrm>
            <a:custGeom>
              <a:avLst/>
              <a:gdLst/>
              <a:ahLst/>
              <a:cxnLst/>
              <a:rect l="l" t="t" r="r" b="b"/>
              <a:pathLst>
                <a:path w="1299" h="1300" extrusionOk="0">
                  <a:moveTo>
                    <a:pt x="1077" y="1"/>
                  </a:moveTo>
                  <a:cubicBezTo>
                    <a:pt x="1014" y="1"/>
                    <a:pt x="950" y="32"/>
                    <a:pt x="919" y="64"/>
                  </a:cubicBezTo>
                  <a:lnTo>
                    <a:pt x="64" y="919"/>
                  </a:lnTo>
                  <a:cubicBezTo>
                    <a:pt x="0" y="951"/>
                    <a:pt x="0" y="1014"/>
                    <a:pt x="0" y="1077"/>
                  </a:cubicBezTo>
                  <a:cubicBezTo>
                    <a:pt x="0" y="1141"/>
                    <a:pt x="0" y="1204"/>
                    <a:pt x="64" y="1236"/>
                  </a:cubicBezTo>
                  <a:cubicBezTo>
                    <a:pt x="95" y="1299"/>
                    <a:pt x="159" y="1299"/>
                    <a:pt x="222" y="1299"/>
                  </a:cubicBezTo>
                  <a:cubicBezTo>
                    <a:pt x="285" y="1299"/>
                    <a:pt x="349" y="1267"/>
                    <a:pt x="380" y="1236"/>
                  </a:cubicBezTo>
                  <a:lnTo>
                    <a:pt x="1235" y="381"/>
                  </a:lnTo>
                  <a:cubicBezTo>
                    <a:pt x="1267" y="349"/>
                    <a:pt x="1299" y="286"/>
                    <a:pt x="1299" y="222"/>
                  </a:cubicBezTo>
                  <a:cubicBezTo>
                    <a:pt x="1299" y="159"/>
                    <a:pt x="1267" y="96"/>
                    <a:pt x="1235" y="64"/>
                  </a:cubicBezTo>
                  <a:cubicBezTo>
                    <a:pt x="1172" y="32"/>
                    <a:pt x="1140" y="1"/>
                    <a:pt x="1077" y="1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" name="Google Shape;1508;p18">
              <a:extLst>
                <a:ext uri="{FF2B5EF4-FFF2-40B4-BE49-F238E27FC236}">
                  <a16:creationId xmlns:a16="http://schemas.microsoft.com/office/drawing/2014/main" id="{21FE3195-D551-52C1-FA15-DF8F2716F149}"/>
                </a:ext>
              </a:extLst>
            </p:cNvPr>
            <p:cNvSpPr/>
            <p:nvPr/>
          </p:nvSpPr>
          <p:spPr>
            <a:xfrm>
              <a:off x="3842850" y="1928400"/>
              <a:ext cx="207450" cy="159950"/>
            </a:xfrm>
            <a:custGeom>
              <a:avLst/>
              <a:gdLst/>
              <a:ahLst/>
              <a:cxnLst/>
              <a:rect l="l" t="t" r="r" b="b"/>
              <a:pathLst>
                <a:path w="8298" h="6398" extrusionOk="0">
                  <a:moveTo>
                    <a:pt x="159" y="0"/>
                  </a:moveTo>
                  <a:cubicBezTo>
                    <a:pt x="64" y="0"/>
                    <a:pt x="0" y="63"/>
                    <a:pt x="0" y="127"/>
                  </a:cubicBezTo>
                  <a:lnTo>
                    <a:pt x="0" y="6271"/>
                  </a:lnTo>
                  <a:cubicBezTo>
                    <a:pt x="0" y="6334"/>
                    <a:pt x="64" y="6397"/>
                    <a:pt x="159" y="6397"/>
                  </a:cubicBezTo>
                  <a:lnTo>
                    <a:pt x="8139" y="6397"/>
                  </a:lnTo>
                  <a:cubicBezTo>
                    <a:pt x="8234" y="6397"/>
                    <a:pt x="8298" y="6334"/>
                    <a:pt x="8298" y="6271"/>
                  </a:cubicBezTo>
                  <a:cubicBezTo>
                    <a:pt x="8298" y="6175"/>
                    <a:pt x="8234" y="6112"/>
                    <a:pt x="8139" y="6112"/>
                  </a:cubicBezTo>
                  <a:lnTo>
                    <a:pt x="317" y="6112"/>
                  </a:lnTo>
                  <a:lnTo>
                    <a:pt x="317" y="127"/>
                  </a:lnTo>
                  <a:cubicBezTo>
                    <a:pt x="317" y="63"/>
                    <a:pt x="254" y="0"/>
                    <a:pt x="159" y="0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" name="Google Shape;1509;p18">
              <a:extLst>
                <a:ext uri="{FF2B5EF4-FFF2-40B4-BE49-F238E27FC236}">
                  <a16:creationId xmlns:a16="http://schemas.microsoft.com/office/drawing/2014/main" id="{D053F5DB-9922-3537-49FD-AB9B6CB1E8F7}"/>
                </a:ext>
              </a:extLst>
            </p:cNvPr>
            <p:cNvSpPr/>
            <p:nvPr/>
          </p:nvSpPr>
          <p:spPr>
            <a:xfrm>
              <a:off x="3863425" y="2004400"/>
              <a:ext cx="37250" cy="64950"/>
            </a:xfrm>
            <a:custGeom>
              <a:avLst/>
              <a:gdLst/>
              <a:ahLst/>
              <a:cxnLst/>
              <a:rect l="l" t="t" r="r" b="b"/>
              <a:pathLst>
                <a:path w="1490" h="2598" extrusionOk="0">
                  <a:moveTo>
                    <a:pt x="1046" y="349"/>
                  </a:moveTo>
                  <a:lnTo>
                    <a:pt x="1046" y="2249"/>
                  </a:lnTo>
                  <a:lnTo>
                    <a:pt x="412" y="2249"/>
                  </a:lnTo>
                  <a:lnTo>
                    <a:pt x="412" y="349"/>
                  </a:lnTo>
                  <a:close/>
                  <a:moveTo>
                    <a:pt x="286" y="0"/>
                  </a:moveTo>
                  <a:cubicBezTo>
                    <a:pt x="127" y="0"/>
                    <a:pt x="1" y="127"/>
                    <a:pt x="1" y="254"/>
                  </a:cubicBezTo>
                  <a:lnTo>
                    <a:pt x="1" y="2344"/>
                  </a:lnTo>
                  <a:cubicBezTo>
                    <a:pt x="1" y="2470"/>
                    <a:pt x="127" y="2597"/>
                    <a:pt x="286" y="2597"/>
                  </a:cubicBezTo>
                  <a:lnTo>
                    <a:pt x="1172" y="2597"/>
                  </a:lnTo>
                  <a:cubicBezTo>
                    <a:pt x="1331" y="2597"/>
                    <a:pt x="1489" y="2470"/>
                    <a:pt x="1489" y="2344"/>
                  </a:cubicBezTo>
                  <a:lnTo>
                    <a:pt x="1489" y="254"/>
                  </a:lnTo>
                  <a:cubicBezTo>
                    <a:pt x="1489" y="127"/>
                    <a:pt x="1331" y="0"/>
                    <a:pt x="1172" y="0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" name="Google Shape;1510;p18">
              <a:extLst>
                <a:ext uri="{FF2B5EF4-FFF2-40B4-BE49-F238E27FC236}">
                  <a16:creationId xmlns:a16="http://schemas.microsoft.com/office/drawing/2014/main" id="{2714D926-92C2-49B6-F3B2-28BF37B07377}"/>
                </a:ext>
              </a:extLst>
            </p:cNvPr>
            <p:cNvSpPr/>
            <p:nvPr/>
          </p:nvSpPr>
          <p:spPr>
            <a:xfrm>
              <a:off x="3908550" y="1986175"/>
              <a:ext cx="37250" cy="83175"/>
            </a:xfrm>
            <a:custGeom>
              <a:avLst/>
              <a:gdLst/>
              <a:ahLst/>
              <a:cxnLst/>
              <a:rect l="l" t="t" r="r" b="b"/>
              <a:pathLst>
                <a:path w="1490" h="3327" extrusionOk="0">
                  <a:moveTo>
                    <a:pt x="1046" y="349"/>
                  </a:moveTo>
                  <a:lnTo>
                    <a:pt x="1046" y="2978"/>
                  </a:lnTo>
                  <a:lnTo>
                    <a:pt x="413" y="2978"/>
                  </a:lnTo>
                  <a:lnTo>
                    <a:pt x="413" y="349"/>
                  </a:lnTo>
                  <a:close/>
                  <a:moveTo>
                    <a:pt x="286" y="1"/>
                  </a:moveTo>
                  <a:cubicBezTo>
                    <a:pt x="127" y="1"/>
                    <a:pt x="1" y="96"/>
                    <a:pt x="1" y="254"/>
                  </a:cubicBezTo>
                  <a:lnTo>
                    <a:pt x="1" y="3073"/>
                  </a:lnTo>
                  <a:cubicBezTo>
                    <a:pt x="1" y="3199"/>
                    <a:pt x="127" y="3326"/>
                    <a:pt x="286" y="3326"/>
                  </a:cubicBezTo>
                  <a:lnTo>
                    <a:pt x="1173" y="3326"/>
                  </a:lnTo>
                  <a:cubicBezTo>
                    <a:pt x="1331" y="3326"/>
                    <a:pt x="1489" y="3199"/>
                    <a:pt x="1489" y="3073"/>
                  </a:cubicBezTo>
                  <a:lnTo>
                    <a:pt x="1489" y="254"/>
                  </a:lnTo>
                  <a:cubicBezTo>
                    <a:pt x="1489" y="96"/>
                    <a:pt x="1331" y="1"/>
                    <a:pt x="1173" y="1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15" name="Google Shape;1511;p18">
              <a:extLst>
                <a:ext uri="{FF2B5EF4-FFF2-40B4-BE49-F238E27FC236}">
                  <a16:creationId xmlns:a16="http://schemas.microsoft.com/office/drawing/2014/main" id="{DE86600A-2527-D1BA-7B5F-72C5ABD8522B}"/>
                </a:ext>
              </a:extLst>
            </p:cNvPr>
            <p:cNvSpPr/>
            <p:nvPr/>
          </p:nvSpPr>
          <p:spPr>
            <a:xfrm>
              <a:off x="3953674" y="1967175"/>
              <a:ext cx="37250" cy="102175"/>
            </a:xfrm>
            <a:custGeom>
              <a:avLst/>
              <a:gdLst/>
              <a:ahLst/>
              <a:cxnLst/>
              <a:rect l="l" t="t" r="r" b="b"/>
              <a:pathLst>
                <a:path w="1490" h="4087" extrusionOk="0">
                  <a:moveTo>
                    <a:pt x="1046" y="349"/>
                  </a:moveTo>
                  <a:lnTo>
                    <a:pt x="1046" y="3738"/>
                  </a:lnTo>
                  <a:lnTo>
                    <a:pt x="413" y="3738"/>
                  </a:lnTo>
                  <a:lnTo>
                    <a:pt x="413" y="349"/>
                  </a:lnTo>
                  <a:close/>
                  <a:moveTo>
                    <a:pt x="286" y="1"/>
                  </a:moveTo>
                  <a:cubicBezTo>
                    <a:pt x="128" y="1"/>
                    <a:pt x="1" y="128"/>
                    <a:pt x="1" y="254"/>
                  </a:cubicBezTo>
                  <a:lnTo>
                    <a:pt x="1" y="3833"/>
                  </a:lnTo>
                  <a:cubicBezTo>
                    <a:pt x="1" y="3959"/>
                    <a:pt x="128" y="4086"/>
                    <a:pt x="286" y="4086"/>
                  </a:cubicBezTo>
                  <a:lnTo>
                    <a:pt x="1173" y="4086"/>
                  </a:lnTo>
                  <a:cubicBezTo>
                    <a:pt x="1331" y="4086"/>
                    <a:pt x="1489" y="3959"/>
                    <a:pt x="1489" y="3833"/>
                  </a:cubicBezTo>
                  <a:lnTo>
                    <a:pt x="1489" y="254"/>
                  </a:lnTo>
                  <a:cubicBezTo>
                    <a:pt x="1489" y="128"/>
                    <a:pt x="1331" y="1"/>
                    <a:pt x="1173" y="1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" name="Google Shape;1512;p18">
              <a:extLst>
                <a:ext uri="{FF2B5EF4-FFF2-40B4-BE49-F238E27FC236}">
                  <a16:creationId xmlns:a16="http://schemas.microsoft.com/office/drawing/2014/main" id="{9257347A-8D82-2376-BAB6-191D27EA87DA}"/>
                </a:ext>
              </a:extLst>
            </p:cNvPr>
            <p:cNvSpPr/>
            <p:nvPr/>
          </p:nvSpPr>
          <p:spPr>
            <a:xfrm>
              <a:off x="3998825" y="1948975"/>
              <a:ext cx="37225" cy="120375"/>
            </a:xfrm>
            <a:custGeom>
              <a:avLst/>
              <a:gdLst/>
              <a:ahLst/>
              <a:cxnLst/>
              <a:rect l="l" t="t" r="r" b="b"/>
              <a:pathLst>
                <a:path w="1489" h="4815" extrusionOk="0">
                  <a:moveTo>
                    <a:pt x="1045" y="349"/>
                  </a:moveTo>
                  <a:lnTo>
                    <a:pt x="1045" y="4466"/>
                  </a:lnTo>
                  <a:lnTo>
                    <a:pt x="412" y="4466"/>
                  </a:lnTo>
                  <a:lnTo>
                    <a:pt x="412" y="349"/>
                  </a:lnTo>
                  <a:close/>
                  <a:moveTo>
                    <a:pt x="285" y="0"/>
                  </a:moveTo>
                  <a:cubicBezTo>
                    <a:pt x="127" y="0"/>
                    <a:pt x="0" y="95"/>
                    <a:pt x="0" y="254"/>
                  </a:cubicBezTo>
                  <a:lnTo>
                    <a:pt x="0" y="4561"/>
                  </a:lnTo>
                  <a:cubicBezTo>
                    <a:pt x="0" y="4687"/>
                    <a:pt x="127" y="4814"/>
                    <a:pt x="285" y="4814"/>
                  </a:cubicBezTo>
                  <a:lnTo>
                    <a:pt x="1172" y="4814"/>
                  </a:lnTo>
                  <a:cubicBezTo>
                    <a:pt x="1330" y="4814"/>
                    <a:pt x="1489" y="4687"/>
                    <a:pt x="1489" y="4561"/>
                  </a:cubicBezTo>
                  <a:lnTo>
                    <a:pt x="1489" y="254"/>
                  </a:lnTo>
                  <a:cubicBezTo>
                    <a:pt x="1489" y="95"/>
                    <a:pt x="1330" y="0"/>
                    <a:pt x="1172" y="0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" name="Google Shape;1513;p18">
              <a:extLst>
                <a:ext uri="{FF2B5EF4-FFF2-40B4-BE49-F238E27FC236}">
                  <a16:creationId xmlns:a16="http://schemas.microsoft.com/office/drawing/2014/main" id="{F83C6859-FFB0-2260-0D3F-204A00D527C0}"/>
                </a:ext>
              </a:extLst>
            </p:cNvPr>
            <p:cNvSpPr/>
            <p:nvPr/>
          </p:nvSpPr>
          <p:spPr>
            <a:xfrm>
              <a:off x="3863425" y="1897500"/>
              <a:ext cx="172625" cy="71300"/>
            </a:xfrm>
            <a:custGeom>
              <a:avLst/>
              <a:gdLst/>
              <a:ahLst/>
              <a:cxnLst/>
              <a:rect l="l" t="t" r="r" b="b"/>
              <a:pathLst>
                <a:path w="6905" h="2852" extrusionOk="0">
                  <a:moveTo>
                    <a:pt x="5606" y="1"/>
                  </a:moveTo>
                  <a:cubicBezTo>
                    <a:pt x="5511" y="1"/>
                    <a:pt x="5416" y="96"/>
                    <a:pt x="5416" y="159"/>
                  </a:cubicBezTo>
                  <a:cubicBezTo>
                    <a:pt x="5416" y="254"/>
                    <a:pt x="5511" y="349"/>
                    <a:pt x="5606" y="349"/>
                  </a:cubicBezTo>
                  <a:lnTo>
                    <a:pt x="6113" y="349"/>
                  </a:lnTo>
                  <a:cubicBezTo>
                    <a:pt x="4466" y="1426"/>
                    <a:pt x="3009" y="1964"/>
                    <a:pt x="2059" y="2218"/>
                  </a:cubicBezTo>
                  <a:cubicBezTo>
                    <a:pt x="919" y="2503"/>
                    <a:pt x="222" y="2503"/>
                    <a:pt x="191" y="2503"/>
                  </a:cubicBezTo>
                  <a:cubicBezTo>
                    <a:pt x="159" y="2503"/>
                    <a:pt x="96" y="2534"/>
                    <a:pt x="64" y="2534"/>
                  </a:cubicBezTo>
                  <a:cubicBezTo>
                    <a:pt x="1" y="2566"/>
                    <a:pt x="1" y="2629"/>
                    <a:pt x="1" y="2661"/>
                  </a:cubicBezTo>
                  <a:cubicBezTo>
                    <a:pt x="1" y="2725"/>
                    <a:pt x="1" y="2756"/>
                    <a:pt x="32" y="2788"/>
                  </a:cubicBezTo>
                  <a:cubicBezTo>
                    <a:pt x="96" y="2820"/>
                    <a:pt x="127" y="2851"/>
                    <a:pt x="191" y="2851"/>
                  </a:cubicBezTo>
                  <a:lnTo>
                    <a:pt x="222" y="2851"/>
                  </a:lnTo>
                  <a:cubicBezTo>
                    <a:pt x="507" y="2851"/>
                    <a:pt x="3104" y="2788"/>
                    <a:pt x="6334" y="634"/>
                  </a:cubicBezTo>
                  <a:lnTo>
                    <a:pt x="6334" y="634"/>
                  </a:lnTo>
                  <a:lnTo>
                    <a:pt x="6208" y="1078"/>
                  </a:lnTo>
                  <a:cubicBezTo>
                    <a:pt x="6208" y="1141"/>
                    <a:pt x="6208" y="1173"/>
                    <a:pt x="6239" y="1236"/>
                  </a:cubicBezTo>
                  <a:cubicBezTo>
                    <a:pt x="6271" y="1268"/>
                    <a:pt x="6334" y="1299"/>
                    <a:pt x="6366" y="1299"/>
                  </a:cubicBezTo>
                  <a:lnTo>
                    <a:pt x="6429" y="1299"/>
                  </a:lnTo>
                  <a:cubicBezTo>
                    <a:pt x="6524" y="1299"/>
                    <a:pt x="6620" y="1236"/>
                    <a:pt x="6620" y="1173"/>
                  </a:cubicBezTo>
                  <a:lnTo>
                    <a:pt x="6905" y="223"/>
                  </a:lnTo>
                  <a:lnTo>
                    <a:pt x="6905" y="191"/>
                  </a:lnTo>
                  <a:cubicBezTo>
                    <a:pt x="6905" y="191"/>
                    <a:pt x="6905" y="159"/>
                    <a:pt x="6905" y="159"/>
                  </a:cubicBezTo>
                  <a:cubicBezTo>
                    <a:pt x="6905" y="159"/>
                    <a:pt x="6873" y="128"/>
                    <a:pt x="6873" y="128"/>
                  </a:cubicBezTo>
                  <a:cubicBezTo>
                    <a:pt x="6873" y="96"/>
                    <a:pt x="6873" y="96"/>
                    <a:pt x="6873" y="96"/>
                  </a:cubicBezTo>
                  <a:cubicBezTo>
                    <a:pt x="6873" y="96"/>
                    <a:pt x="6873" y="96"/>
                    <a:pt x="6841" y="64"/>
                  </a:cubicBezTo>
                  <a:cubicBezTo>
                    <a:pt x="6841" y="64"/>
                    <a:pt x="6841" y="64"/>
                    <a:pt x="6810" y="33"/>
                  </a:cubicBezTo>
                  <a:cubicBezTo>
                    <a:pt x="6778" y="33"/>
                    <a:pt x="6746" y="1"/>
                    <a:pt x="6746" y="1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" name="Google Shape;1514;p18">
              <a:extLst>
                <a:ext uri="{FF2B5EF4-FFF2-40B4-BE49-F238E27FC236}">
                  <a16:creationId xmlns:a16="http://schemas.microsoft.com/office/drawing/2014/main" id="{197D06F5-7F3B-6D9A-2623-FC5466718DAE}"/>
                </a:ext>
              </a:extLst>
            </p:cNvPr>
            <p:cNvSpPr/>
            <p:nvPr/>
          </p:nvSpPr>
          <p:spPr>
            <a:xfrm>
              <a:off x="4222875" y="2990100"/>
              <a:ext cx="40400" cy="15050"/>
            </a:xfrm>
            <a:custGeom>
              <a:avLst/>
              <a:gdLst/>
              <a:ahLst/>
              <a:cxnLst/>
              <a:rect l="l" t="t" r="r" b="b"/>
              <a:pathLst>
                <a:path w="1616" h="602" extrusionOk="0">
                  <a:moveTo>
                    <a:pt x="285" y="0"/>
                  </a:moveTo>
                  <a:cubicBezTo>
                    <a:pt x="127" y="0"/>
                    <a:pt x="0" y="127"/>
                    <a:pt x="0" y="317"/>
                  </a:cubicBezTo>
                  <a:cubicBezTo>
                    <a:pt x="0" y="475"/>
                    <a:pt x="127" y="602"/>
                    <a:pt x="285" y="602"/>
                  </a:cubicBezTo>
                  <a:lnTo>
                    <a:pt x="1331" y="602"/>
                  </a:lnTo>
                  <a:cubicBezTo>
                    <a:pt x="1489" y="602"/>
                    <a:pt x="1616" y="475"/>
                    <a:pt x="1616" y="317"/>
                  </a:cubicBezTo>
                  <a:cubicBezTo>
                    <a:pt x="1616" y="127"/>
                    <a:pt x="1489" y="0"/>
                    <a:pt x="1331" y="0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1515;p18">
              <a:extLst>
                <a:ext uri="{FF2B5EF4-FFF2-40B4-BE49-F238E27FC236}">
                  <a16:creationId xmlns:a16="http://schemas.microsoft.com/office/drawing/2014/main" id="{107A98C1-649A-7706-2A39-A2CA6BBD747D}"/>
                </a:ext>
              </a:extLst>
            </p:cNvPr>
            <p:cNvSpPr/>
            <p:nvPr/>
          </p:nvSpPr>
          <p:spPr>
            <a:xfrm>
              <a:off x="4224450" y="2945925"/>
              <a:ext cx="38025" cy="26775"/>
            </a:xfrm>
            <a:custGeom>
              <a:avLst/>
              <a:gdLst/>
              <a:ahLst/>
              <a:cxnLst/>
              <a:rect l="l" t="t" r="r" b="b"/>
              <a:pathLst>
                <a:path w="1521" h="1071" extrusionOk="0">
                  <a:moveTo>
                    <a:pt x="318" y="1"/>
                  </a:moveTo>
                  <a:cubicBezTo>
                    <a:pt x="196" y="1"/>
                    <a:pt x="79" y="66"/>
                    <a:pt x="32" y="184"/>
                  </a:cubicBezTo>
                  <a:cubicBezTo>
                    <a:pt x="1" y="247"/>
                    <a:pt x="1" y="310"/>
                    <a:pt x="1" y="405"/>
                  </a:cubicBezTo>
                  <a:cubicBezTo>
                    <a:pt x="32" y="469"/>
                    <a:pt x="96" y="532"/>
                    <a:pt x="159" y="564"/>
                  </a:cubicBezTo>
                  <a:lnTo>
                    <a:pt x="1078" y="1039"/>
                  </a:lnTo>
                  <a:cubicBezTo>
                    <a:pt x="1109" y="1070"/>
                    <a:pt x="1173" y="1070"/>
                    <a:pt x="1204" y="1070"/>
                  </a:cubicBezTo>
                  <a:cubicBezTo>
                    <a:pt x="1331" y="1070"/>
                    <a:pt x="1426" y="1007"/>
                    <a:pt x="1489" y="912"/>
                  </a:cubicBezTo>
                  <a:cubicBezTo>
                    <a:pt x="1521" y="849"/>
                    <a:pt x="1521" y="754"/>
                    <a:pt x="1489" y="690"/>
                  </a:cubicBezTo>
                  <a:cubicBezTo>
                    <a:pt x="1458" y="595"/>
                    <a:pt x="1426" y="532"/>
                    <a:pt x="1331" y="500"/>
                  </a:cubicBezTo>
                  <a:lnTo>
                    <a:pt x="444" y="25"/>
                  </a:lnTo>
                  <a:cubicBezTo>
                    <a:pt x="403" y="9"/>
                    <a:pt x="360" y="1"/>
                    <a:pt x="318" y="1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1516;p18">
              <a:extLst>
                <a:ext uri="{FF2B5EF4-FFF2-40B4-BE49-F238E27FC236}">
                  <a16:creationId xmlns:a16="http://schemas.microsoft.com/office/drawing/2014/main" id="{DE20A4D3-F5D9-7592-9D23-7F6DD4EB6AE7}"/>
                </a:ext>
              </a:extLst>
            </p:cNvPr>
            <p:cNvSpPr/>
            <p:nvPr/>
          </p:nvSpPr>
          <p:spPr>
            <a:xfrm>
              <a:off x="4233175" y="3020350"/>
              <a:ext cx="38025" cy="26775"/>
            </a:xfrm>
            <a:custGeom>
              <a:avLst/>
              <a:gdLst/>
              <a:ahLst/>
              <a:cxnLst/>
              <a:rect l="l" t="t" r="r" b="b"/>
              <a:pathLst>
                <a:path w="1521" h="1071" extrusionOk="0">
                  <a:moveTo>
                    <a:pt x="1208" y="0"/>
                  </a:moveTo>
                  <a:cubicBezTo>
                    <a:pt x="1164" y="0"/>
                    <a:pt x="1119" y="8"/>
                    <a:pt x="1077" y="25"/>
                  </a:cubicBezTo>
                  <a:lnTo>
                    <a:pt x="158" y="500"/>
                  </a:lnTo>
                  <a:cubicBezTo>
                    <a:pt x="95" y="532"/>
                    <a:pt x="32" y="595"/>
                    <a:pt x="32" y="659"/>
                  </a:cubicBezTo>
                  <a:cubicBezTo>
                    <a:pt x="0" y="754"/>
                    <a:pt x="0" y="817"/>
                    <a:pt x="32" y="912"/>
                  </a:cubicBezTo>
                  <a:cubicBezTo>
                    <a:pt x="95" y="1007"/>
                    <a:pt x="190" y="1070"/>
                    <a:pt x="317" y="1070"/>
                  </a:cubicBezTo>
                  <a:cubicBezTo>
                    <a:pt x="348" y="1070"/>
                    <a:pt x="412" y="1039"/>
                    <a:pt x="443" y="1039"/>
                  </a:cubicBezTo>
                  <a:lnTo>
                    <a:pt x="1362" y="564"/>
                  </a:lnTo>
                  <a:cubicBezTo>
                    <a:pt x="1425" y="532"/>
                    <a:pt x="1489" y="468"/>
                    <a:pt x="1489" y="405"/>
                  </a:cubicBezTo>
                  <a:cubicBezTo>
                    <a:pt x="1520" y="310"/>
                    <a:pt x="1520" y="247"/>
                    <a:pt x="1489" y="152"/>
                  </a:cubicBezTo>
                  <a:cubicBezTo>
                    <a:pt x="1442" y="59"/>
                    <a:pt x="1328" y="0"/>
                    <a:pt x="1208" y="0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1517;p18">
              <a:extLst>
                <a:ext uri="{FF2B5EF4-FFF2-40B4-BE49-F238E27FC236}">
                  <a16:creationId xmlns:a16="http://schemas.microsoft.com/office/drawing/2014/main" id="{54B490D9-2172-88E2-DE39-71CB6B260A67}"/>
                </a:ext>
              </a:extLst>
            </p:cNvPr>
            <p:cNvSpPr/>
            <p:nvPr/>
          </p:nvSpPr>
          <p:spPr>
            <a:xfrm>
              <a:off x="4436650" y="2990100"/>
              <a:ext cx="40400" cy="15050"/>
            </a:xfrm>
            <a:custGeom>
              <a:avLst/>
              <a:gdLst/>
              <a:ahLst/>
              <a:cxnLst/>
              <a:rect l="l" t="t" r="r" b="b"/>
              <a:pathLst>
                <a:path w="1616" h="602" extrusionOk="0">
                  <a:moveTo>
                    <a:pt x="285" y="0"/>
                  </a:moveTo>
                  <a:cubicBezTo>
                    <a:pt x="127" y="0"/>
                    <a:pt x="0" y="127"/>
                    <a:pt x="0" y="317"/>
                  </a:cubicBezTo>
                  <a:cubicBezTo>
                    <a:pt x="0" y="475"/>
                    <a:pt x="127" y="602"/>
                    <a:pt x="285" y="602"/>
                  </a:cubicBezTo>
                  <a:lnTo>
                    <a:pt x="1330" y="602"/>
                  </a:lnTo>
                  <a:cubicBezTo>
                    <a:pt x="1489" y="602"/>
                    <a:pt x="1615" y="475"/>
                    <a:pt x="1615" y="317"/>
                  </a:cubicBezTo>
                  <a:cubicBezTo>
                    <a:pt x="1615" y="127"/>
                    <a:pt x="1489" y="0"/>
                    <a:pt x="1330" y="0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1518;p18">
              <a:extLst>
                <a:ext uri="{FF2B5EF4-FFF2-40B4-BE49-F238E27FC236}">
                  <a16:creationId xmlns:a16="http://schemas.microsoft.com/office/drawing/2014/main" id="{5413B5FB-A352-B07E-7B45-8786A3ED115F}"/>
                </a:ext>
              </a:extLst>
            </p:cNvPr>
            <p:cNvSpPr/>
            <p:nvPr/>
          </p:nvSpPr>
          <p:spPr>
            <a:xfrm>
              <a:off x="4437425" y="2945925"/>
              <a:ext cx="38025" cy="26775"/>
            </a:xfrm>
            <a:custGeom>
              <a:avLst/>
              <a:gdLst/>
              <a:ahLst/>
              <a:cxnLst/>
              <a:rect l="l" t="t" r="r" b="b"/>
              <a:pathLst>
                <a:path w="1521" h="1071" extrusionOk="0">
                  <a:moveTo>
                    <a:pt x="1204" y="1"/>
                  </a:moveTo>
                  <a:cubicBezTo>
                    <a:pt x="1161" y="1"/>
                    <a:pt x="1118" y="9"/>
                    <a:pt x="1077" y="25"/>
                  </a:cubicBezTo>
                  <a:lnTo>
                    <a:pt x="159" y="500"/>
                  </a:lnTo>
                  <a:cubicBezTo>
                    <a:pt x="96" y="532"/>
                    <a:pt x="32" y="595"/>
                    <a:pt x="32" y="690"/>
                  </a:cubicBezTo>
                  <a:cubicBezTo>
                    <a:pt x="1" y="754"/>
                    <a:pt x="1" y="849"/>
                    <a:pt x="32" y="912"/>
                  </a:cubicBezTo>
                  <a:cubicBezTo>
                    <a:pt x="96" y="1007"/>
                    <a:pt x="191" y="1070"/>
                    <a:pt x="317" y="1070"/>
                  </a:cubicBezTo>
                  <a:cubicBezTo>
                    <a:pt x="349" y="1070"/>
                    <a:pt x="412" y="1070"/>
                    <a:pt x="444" y="1039"/>
                  </a:cubicBezTo>
                  <a:lnTo>
                    <a:pt x="1363" y="564"/>
                  </a:lnTo>
                  <a:cubicBezTo>
                    <a:pt x="1426" y="532"/>
                    <a:pt x="1489" y="469"/>
                    <a:pt x="1489" y="405"/>
                  </a:cubicBezTo>
                  <a:cubicBezTo>
                    <a:pt x="1521" y="310"/>
                    <a:pt x="1521" y="247"/>
                    <a:pt x="1489" y="184"/>
                  </a:cubicBezTo>
                  <a:cubicBezTo>
                    <a:pt x="1442" y="66"/>
                    <a:pt x="1326" y="1"/>
                    <a:pt x="1204" y="1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1519;p18">
              <a:extLst>
                <a:ext uri="{FF2B5EF4-FFF2-40B4-BE49-F238E27FC236}">
                  <a16:creationId xmlns:a16="http://schemas.microsoft.com/office/drawing/2014/main" id="{1228C22C-BBA2-6994-D874-22B290035B29}"/>
                </a:ext>
              </a:extLst>
            </p:cNvPr>
            <p:cNvSpPr/>
            <p:nvPr/>
          </p:nvSpPr>
          <p:spPr>
            <a:xfrm>
              <a:off x="4428725" y="3020350"/>
              <a:ext cx="38025" cy="26775"/>
            </a:xfrm>
            <a:custGeom>
              <a:avLst/>
              <a:gdLst/>
              <a:ahLst/>
              <a:cxnLst/>
              <a:rect l="l" t="t" r="r" b="b"/>
              <a:pathLst>
                <a:path w="1521" h="1071" extrusionOk="0">
                  <a:moveTo>
                    <a:pt x="313" y="0"/>
                  </a:moveTo>
                  <a:cubicBezTo>
                    <a:pt x="193" y="0"/>
                    <a:pt x="78" y="59"/>
                    <a:pt x="32" y="152"/>
                  </a:cubicBezTo>
                  <a:cubicBezTo>
                    <a:pt x="0" y="247"/>
                    <a:pt x="0" y="310"/>
                    <a:pt x="0" y="405"/>
                  </a:cubicBezTo>
                  <a:cubicBezTo>
                    <a:pt x="32" y="468"/>
                    <a:pt x="95" y="532"/>
                    <a:pt x="159" y="564"/>
                  </a:cubicBezTo>
                  <a:lnTo>
                    <a:pt x="1077" y="1039"/>
                  </a:lnTo>
                  <a:cubicBezTo>
                    <a:pt x="1109" y="1039"/>
                    <a:pt x="1172" y="1070"/>
                    <a:pt x="1204" y="1070"/>
                  </a:cubicBezTo>
                  <a:cubicBezTo>
                    <a:pt x="1330" y="1070"/>
                    <a:pt x="1425" y="1007"/>
                    <a:pt x="1489" y="912"/>
                  </a:cubicBezTo>
                  <a:cubicBezTo>
                    <a:pt x="1520" y="817"/>
                    <a:pt x="1520" y="754"/>
                    <a:pt x="1489" y="659"/>
                  </a:cubicBezTo>
                  <a:cubicBezTo>
                    <a:pt x="1457" y="595"/>
                    <a:pt x="1425" y="532"/>
                    <a:pt x="1330" y="500"/>
                  </a:cubicBezTo>
                  <a:lnTo>
                    <a:pt x="444" y="25"/>
                  </a:lnTo>
                  <a:cubicBezTo>
                    <a:pt x="401" y="8"/>
                    <a:pt x="357" y="0"/>
                    <a:pt x="313" y="0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1520;p18">
              <a:extLst>
                <a:ext uri="{FF2B5EF4-FFF2-40B4-BE49-F238E27FC236}">
                  <a16:creationId xmlns:a16="http://schemas.microsoft.com/office/drawing/2014/main" id="{DCD5FF9C-C19E-A843-58E7-E72DD063AE57}"/>
                </a:ext>
              </a:extLst>
            </p:cNvPr>
            <p:cNvSpPr/>
            <p:nvPr/>
          </p:nvSpPr>
          <p:spPr>
            <a:xfrm>
              <a:off x="4317100" y="3095400"/>
              <a:ext cx="67300" cy="12675"/>
            </a:xfrm>
            <a:custGeom>
              <a:avLst/>
              <a:gdLst/>
              <a:ahLst/>
              <a:cxnLst/>
              <a:rect l="l" t="t" r="r" b="b"/>
              <a:pathLst>
                <a:path w="2692" h="507" extrusionOk="0">
                  <a:moveTo>
                    <a:pt x="253" y="0"/>
                  </a:moveTo>
                  <a:cubicBezTo>
                    <a:pt x="127" y="0"/>
                    <a:pt x="0" y="127"/>
                    <a:pt x="0" y="253"/>
                  </a:cubicBezTo>
                  <a:cubicBezTo>
                    <a:pt x="0" y="412"/>
                    <a:pt x="127" y="507"/>
                    <a:pt x="253" y="507"/>
                  </a:cubicBezTo>
                  <a:lnTo>
                    <a:pt x="2439" y="507"/>
                  </a:lnTo>
                  <a:cubicBezTo>
                    <a:pt x="2597" y="507"/>
                    <a:pt x="2692" y="412"/>
                    <a:pt x="2692" y="253"/>
                  </a:cubicBezTo>
                  <a:cubicBezTo>
                    <a:pt x="2692" y="127"/>
                    <a:pt x="2597" y="0"/>
                    <a:pt x="2439" y="0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1521;p18">
              <a:extLst>
                <a:ext uri="{FF2B5EF4-FFF2-40B4-BE49-F238E27FC236}">
                  <a16:creationId xmlns:a16="http://schemas.microsoft.com/office/drawing/2014/main" id="{B67435B1-4B01-90EE-0C5D-969A4BEA3F2A}"/>
                </a:ext>
              </a:extLst>
            </p:cNvPr>
            <p:cNvSpPr/>
            <p:nvPr/>
          </p:nvSpPr>
          <p:spPr>
            <a:xfrm>
              <a:off x="4328175" y="3116775"/>
              <a:ext cx="46725" cy="12675"/>
            </a:xfrm>
            <a:custGeom>
              <a:avLst/>
              <a:gdLst/>
              <a:ahLst/>
              <a:cxnLst/>
              <a:rect l="l" t="t" r="r" b="b"/>
              <a:pathLst>
                <a:path w="1869" h="507" extrusionOk="0">
                  <a:moveTo>
                    <a:pt x="254" y="0"/>
                  </a:moveTo>
                  <a:cubicBezTo>
                    <a:pt x="127" y="0"/>
                    <a:pt x="0" y="127"/>
                    <a:pt x="0" y="253"/>
                  </a:cubicBezTo>
                  <a:cubicBezTo>
                    <a:pt x="0" y="380"/>
                    <a:pt x="127" y="507"/>
                    <a:pt x="254" y="507"/>
                  </a:cubicBezTo>
                  <a:lnTo>
                    <a:pt x="1616" y="507"/>
                  </a:lnTo>
                  <a:cubicBezTo>
                    <a:pt x="1774" y="507"/>
                    <a:pt x="1869" y="380"/>
                    <a:pt x="1869" y="253"/>
                  </a:cubicBezTo>
                  <a:cubicBezTo>
                    <a:pt x="1869" y="127"/>
                    <a:pt x="1774" y="0"/>
                    <a:pt x="1616" y="0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1522;p18">
              <a:extLst>
                <a:ext uri="{FF2B5EF4-FFF2-40B4-BE49-F238E27FC236}">
                  <a16:creationId xmlns:a16="http://schemas.microsoft.com/office/drawing/2014/main" id="{7A92AA3A-8DF8-5300-ECE6-F8F7F0A122CC}"/>
                </a:ext>
              </a:extLst>
            </p:cNvPr>
            <p:cNvSpPr/>
            <p:nvPr/>
          </p:nvSpPr>
          <p:spPr>
            <a:xfrm>
              <a:off x="4272750" y="2907750"/>
              <a:ext cx="156000" cy="182125"/>
            </a:xfrm>
            <a:custGeom>
              <a:avLst/>
              <a:gdLst/>
              <a:ahLst/>
              <a:cxnLst/>
              <a:rect l="l" t="t" r="r" b="b"/>
              <a:pathLst>
                <a:path w="6240" h="7285" extrusionOk="0">
                  <a:moveTo>
                    <a:pt x="3104" y="381"/>
                  </a:moveTo>
                  <a:cubicBezTo>
                    <a:pt x="4624" y="381"/>
                    <a:pt x="5859" y="1584"/>
                    <a:pt x="5859" y="3104"/>
                  </a:cubicBezTo>
                  <a:cubicBezTo>
                    <a:pt x="5859" y="3864"/>
                    <a:pt x="5543" y="4592"/>
                    <a:pt x="4973" y="5131"/>
                  </a:cubicBezTo>
                  <a:cubicBezTo>
                    <a:pt x="4466" y="5574"/>
                    <a:pt x="4149" y="6239"/>
                    <a:pt x="4118" y="6904"/>
                  </a:cubicBezTo>
                  <a:lnTo>
                    <a:pt x="2154" y="6904"/>
                  </a:lnTo>
                  <a:cubicBezTo>
                    <a:pt x="2091" y="6239"/>
                    <a:pt x="1774" y="5574"/>
                    <a:pt x="1267" y="5131"/>
                  </a:cubicBezTo>
                  <a:cubicBezTo>
                    <a:pt x="697" y="4592"/>
                    <a:pt x="381" y="3864"/>
                    <a:pt x="381" y="3104"/>
                  </a:cubicBezTo>
                  <a:cubicBezTo>
                    <a:pt x="381" y="1584"/>
                    <a:pt x="1616" y="381"/>
                    <a:pt x="3104" y="381"/>
                  </a:cubicBezTo>
                  <a:close/>
                  <a:moveTo>
                    <a:pt x="3136" y="0"/>
                  </a:moveTo>
                  <a:cubicBezTo>
                    <a:pt x="1394" y="0"/>
                    <a:pt x="1" y="1394"/>
                    <a:pt x="1" y="3104"/>
                  </a:cubicBezTo>
                  <a:cubicBezTo>
                    <a:pt x="1" y="3991"/>
                    <a:pt x="381" y="4814"/>
                    <a:pt x="1014" y="5416"/>
                  </a:cubicBezTo>
                  <a:cubicBezTo>
                    <a:pt x="1489" y="5828"/>
                    <a:pt x="1774" y="6461"/>
                    <a:pt x="1774" y="7094"/>
                  </a:cubicBezTo>
                  <a:cubicBezTo>
                    <a:pt x="1774" y="7221"/>
                    <a:pt x="1837" y="7284"/>
                    <a:pt x="1964" y="7284"/>
                  </a:cubicBezTo>
                  <a:lnTo>
                    <a:pt x="4276" y="7284"/>
                  </a:lnTo>
                  <a:cubicBezTo>
                    <a:pt x="4403" y="7284"/>
                    <a:pt x="4466" y="7221"/>
                    <a:pt x="4466" y="7094"/>
                  </a:cubicBezTo>
                  <a:cubicBezTo>
                    <a:pt x="4466" y="6461"/>
                    <a:pt x="4751" y="5828"/>
                    <a:pt x="5226" y="5416"/>
                  </a:cubicBezTo>
                  <a:cubicBezTo>
                    <a:pt x="5859" y="4814"/>
                    <a:pt x="6239" y="3991"/>
                    <a:pt x="6239" y="3104"/>
                  </a:cubicBezTo>
                  <a:cubicBezTo>
                    <a:pt x="6239" y="1394"/>
                    <a:pt x="4846" y="0"/>
                    <a:pt x="3136" y="0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1523;p18">
              <a:extLst>
                <a:ext uri="{FF2B5EF4-FFF2-40B4-BE49-F238E27FC236}">
                  <a16:creationId xmlns:a16="http://schemas.microsoft.com/office/drawing/2014/main" id="{F0C0991A-E2AB-4AFB-579E-F86F209B8D30}"/>
                </a:ext>
              </a:extLst>
            </p:cNvPr>
            <p:cNvSpPr/>
            <p:nvPr/>
          </p:nvSpPr>
          <p:spPr>
            <a:xfrm>
              <a:off x="4290175" y="2941150"/>
              <a:ext cx="42775" cy="73500"/>
            </a:xfrm>
            <a:custGeom>
              <a:avLst/>
              <a:gdLst/>
              <a:ahLst/>
              <a:cxnLst/>
              <a:rect l="l" t="t" r="r" b="b"/>
              <a:pathLst>
                <a:path w="1711" h="2940" extrusionOk="0">
                  <a:moveTo>
                    <a:pt x="1447" y="1"/>
                  </a:moveTo>
                  <a:cubicBezTo>
                    <a:pt x="1418" y="1"/>
                    <a:pt x="1389" y="9"/>
                    <a:pt x="1362" y="26"/>
                  </a:cubicBezTo>
                  <a:cubicBezTo>
                    <a:pt x="349" y="565"/>
                    <a:pt x="0" y="1831"/>
                    <a:pt x="570" y="2813"/>
                  </a:cubicBezTo>
                  <a:cubicBezTo>
                    <a:pt x="602" y="2908"/>
                    <a:pt x="665" y="2940"/>
                    <a:pt x="760" y="2940"/>
                  </a:cubicBezTo>
                  <a:cubicBezTo>
                    <a:pt x="792" y="2940"/>
                    <a:pt x="824" y="2940"/>
                    <a:pt x="855" y="2908"/>
                  </a:cubicBezTo>
                  <a:cubicBezTo>
                    <a:pt x="950" y="2845"/>
                    <a:pt x="982" y="2718"/>
                    <a:pt x="950" y="2623"/>
                  </a:cubicBezTo>
                  <a:cubicBezTo>
                    <a:pt x="507" y="1831"/>
                    <a:pt x="792" y="850"/>
                    <a:pt x="1552" y="406"/>
                  </a:cubicBezTo>
                  <a:cubicBezTo>
                    <a:pt x="1679" y="343"/>
                    <a:pt x="1710" y="216"/>
                    <a:pt x="1647" y="121"/>
                  </a:cubicBezTo>
                  <a:cubicBezTo>
                    <a:pt x="1601" y="53"/>
                    <a:pt x="1523" y="1"/>
                    <a:pt x="1447" y="1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1524;p18">
              <a:extLst>
                <a:ext uri="{FF2B5EF4-FFF2-40B4-BE49-F238E27FC236}">
                  <a16:creationId xmlns:a16="http://schemas.microsoft.com/office/drawing/2014/main" id="{D6C3DD25-327D-0621-7FD4-57A722A4C717}"/>
                </a:ext>
              </a:extLst>
            </p:cNvPr>
            <p:cNvSpPr/>
            <p:nvPr/>
          </p:nvSpPr>
          <p:spPr>
            <a:xfrm>
              <a:off x="3811975" y="3326575"/>
              <a:ext cx="247025" cy="247050"/>
            </a:xfrm>
            <a:custGeom>
              <a:avLst/>
              <a:gdLst/>
              <a:ahLst/>
              <a:cxnLst/>
              <a:rect l="l" t="t" r="r" b="b"/>
              <a:pathLst>
                <a:path w="9881" h="9882" extrusionOk="0">
                  <a:moveTo>
                    <a:pt x="4941" y="539"/>
                  </a:moveTo>
                  <a:cubicBezTo>
                    <a:pt x="7379" y="539"/>
                    <a:pt x="9374" y="2502"/>
                    <a:pt x="9374" y="4941"/>
                  </a:cubicBezTo>
                  <a:cubicBezTo>
                    <a:pt x="9374" y="7379"/>
                    <a:pt x="7379" y="9374"/>
                    <a:pt x="4941" y="9374"/>
                  </a:cubicBezTo>
                  <a:cubicBezTo>
                    <a:pt x="2502" y="9374"/>
                    <a:pt x="539" y="7379"/>
                    <a:pt x="539" y="4941"/>
                  </a:cubicBezTo>
                  <a:cubicBezTo>
                    <a:pt x="539" y="2502"/>
                    <a:pt x="2502" y="539"/>
                    <a:pt x="4941" y="539"/>
                  </a:cubicBezTo>
                  <a:close/>
                  <a:moveTo>
                    <a:pt x="4941" y="0"/>
                  </a:moveTo>
                  <a:cubicBezTo>
                    <a:pt x="2217" y="0"/>
                    <a:pt x="0" y="2217"/>
                    <a:pt x="0" y="4941"/>
                  </a:cubicBezTo>
                  <a:cubicBezTo>
                    <a:pt x="0" y="7664"/>
                    <a:pt x="2217" y="9881"/>
                    <a:pt x="4941" y="9881"/>
                  </a:cubicBezTo>
                  <a:cubicBezTo>
                    <a:pt x="7664" y="9881"/>
                    <a:pt x="9881" y="7664"/>
                    <a:pt x="9881" y="4941"/>
                  </a:cubicBezTo>
                  <a:cubicBezTo>
                    <a:pt x="9881" y="2217"/>
                    <a:pt x="7664" y="0"/>
                    <a:pt x="4941" y="0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1525;p18">
              <a:extLst>
                <a:ext uri="{FF2B5EF4-FFF2-40B4-BE49-F238E27FC236}">
                  <a16:creationId xmlns:a16="http://schemas.microsoft.com/office/drawing/2014/main" id="{61126DA1-6843-8AA6-9948-84285BB30A14}"/>
                </a:ext>
              </a:extLst>
            </p:cNvPr>
            <p:cNvSpPr/>
            <p:nvPr/>
          </p:nvSpPr>
          <p:spPr>
            <a:xfrm>
              <a:off x="3890350" y="3358250"/>
              <a:ext cx="93450" cy="178950"/>
            </a:xfrm>
            <a:custGeom>
              <a:avLst/>
              <a:gdLst/>
              <a:ahLst/>
              <a:cxnLst/>
              <a:rect l="l" t="t" r="r" b="b"/>
              <a:pathLst>
                <a:path w="3738" h="7158" extrusionOk="0">
                  <a:moveTo>
                    <a:pt x="1521" y="2090"/>
                  </a:moveTo>
                  <a:lnTo>
                    <a:pt x="1521" y="2977"/>
                  </a:lnTo>
                  <a:cubicBezTo>
                    <a:pt x="1394" y="2945"/>
                    <a:pt x="1299" y="2914"/>
                    <a:pt x="1236" y="2850"/>
                  </a:cubicBezTo>
                  <a:cubicBezTo>
                    <a:pt x="1141" y="2787"/>
                    <a:pt x="1109" y="2692"/>
                    <a:pt x="1109" y="2565"/>
                  </a:cubicBezTo>
                  <a:cubicBezTo>
                    <a:pt x="1109" y="2375"/>
                    <a:pt x="1172" y="2249"/>
                    <a:pt x="1299" y="2185"/>
                  </a:cubicBezTo>
                  <a:cubicBezTo>
                    <a:pt x="1362" y="2154"/>
                    <a:pt x="1457" y="2122"/>
                    <a:pt x="1521" y="2090"/>
                  </a:cubicBezTo>
                  <a:close/>
                  <a:moveTo>
                    <a:pt x="2249" y="4275"/>
                  </a:moveTo>
                  <a:cubicBezTo>
                    <a:pt x="2344" y="4307"/>
                    <a:pt x="2376" y="4339"/>
                    <a:pt x="2407" y="4370"/>
                  </a:cubicBezTo>
                  <a:cubicBezTo>
                    <a:pt x="2502" y="4434"/>
                    <a:pt x="2566" y="4560"/>
                    <a:pt x="2566" y="4719"/>
                  </a:cubicBezTo>
                  <a:cubicBezTo>
                    <a:pt x="2566" y="4877"/>
                    <a:pt x="2502" y="5004"/>
                    <a:pt x="2344" y="5099"/>
                  </a:cubicBezTo>
                  <a:cubicBezTo>
                    <a:pt x="2312" y="5099"/>
                    <a:pt x="2281" y="5130"/>
                    <a:pt x="2249" y="5130"/>
                  </a:cubicBezTo>
                  <a:lnTo>
                    <a:pt x="2249" y="4275"/>
                  </a:lnTo>
                  <a:close/>
                  <a:moveTo>
                    <a:pt x="1901" y="0"/>
                  </a:moveTo>
                  <a:cubicBezTo>
                    <a:pt x="1679" y="0"/>
                    <a:pt x="1521" y="127"/>
                    <a:pt x="1521" y="317"/>
                  </a:cubicBezTo>
                  <a:lnTo>
                    <a:pt x="1521" y="1172"/>
                  </a:lnTo>
                  <a:cubicBezTo>
                    <a:pt x="1077" y="1203"/>
                    <a:pt x="697" y="1330"/>
                    <a:pt x="444" y="1552"/>
                  </a:cubicBezTo>
                  <a:cubicBezTo>
                    <a:pt x="127" y="1805"/>
                    <a:pt x="0" y="2185"/>
                    <a:pt x="0" y="2660"/>
                  </a:cubicBezTo>
                  <a:cubicBezTo>
                    <a:pt x="0" y="3009"/>
                    <a:pt x="95" y="3325"/>
                    <a:pt x="317" y="3547"/>
                  </a:cubicBezTo>
                  <a:cubicBezTo>
                    <a:pt x="539" y="3769"/>
                    <a:pt x="887" y="3927"/>
                    <a:pt x="1362" y="4022"/>
                  </a:cubicBezTo>
                  <a:lnTo>
                    <a:pt x="1521" y="4054"/>
                  </a:lnTo>
                  <a:lnTo>
                    <a:pt x="1521" y="5194"/>
                  </a:lnTo>
                  <a:cubicBezTo>
                    <a:pt x="1331" y="5194"/>
                    <a:pt x="1141" y="5162"/>
                    <a:pt x="919" y="5099"/>
                  </a:cubicBezTo>
                  <a:cubicBezTo>
                    <a:pt x="634" y="5004"/>
                    <a:pt x="349" y="4909"/>
                    <a:pt x="32" y="4719"/>
                  </a:cubicBezTo>
                  <a:lnTo>
                    <a:pt x="32" y="5764"/>
                  </a:lnTo>
                  <a:cubicBezTo>
                    <a:pt x="349" y="5890"/>
                    <a:pt x="634" y="5954"/>
                    <a:pt x="950" y="6017"/>
                  </a:cubicBezTo>
                  <a:cubicBezTo>
                    <a:pt x="1141" y="6049"/>
                    <a:pt x="1331" y="6081"/>
                    <a:pt x="1521" y="6081"/>
                  </a:cubicBezTo>
                  <a:lnTo>
                    <a:pt x="1521" y="6841"/>
                  </a:lnTo>
                  <a:cubicBezTo>
                    <a:pt x="1521" y="7031"/>
                    <a:pt x="1711" y="7157"/>
                    <a:pt x="1901" y="7157"/>
                  </a:cubicBezTo>
                  <a:cubicBezTo>
                    <a:pt x="2091" y="7157"/>
                    <a:pt x="2249" y="7031"/>
                    <a:pt x="2249" y="6841"/>
                  </a:cubicBezTo>
                  <a:lnTo>
                    <a:pt x="2249" y="6081"/>
                  </a:lnTo>
                  <a:cubicBezTo>
                    <a:pt x="2692" y="6049"/>
                    <a:pt x="3041" y="5922"/>
                    <a:pt x="3294" y="5732"/>
                  </a:cubicBezTo>
                  <a:cubicBezTo>
                    <a:pt x="3611" y="5479"/>
                    <a:pt x="3737" y="5099"/>
                    <a:pt x="3737" y="4560"/>
                  </a:cubicBezTo>
                  <a:cubicBezTo>
                    <a:pt x="3737" y="4149"/>
                    <a:pt x="3642" y="3832"/>
                    <a:pt x="3421" y="3642"/>
                  </a:cubicBezTo>
                  <a:cubicBezTo>
                    <a:pt x="3199" y="3420"/>
                    <a:pt x="2819" y="3262"/>
                    <a:pt x="2281" y="3135"/>
                  </a:cubicBezTo>
                  <a:lnTo>
                    <a:pt x="2249" y="3135"/>
                  </a:lnTo>
                  <a:lnTo>
                    <a:pt x="2249" y="2090"/>
                  </a:lnTo>
                  <a:cubicBezTo>
                    <a:pt x="2376" y="2090"/>
                    <a:pt x="2534" y="2122"/>
                    <a:pt x="2661" y="2154"/>
                  </a:cubicBezTo>
                  <a:cubicBezTo>
                    <a:pt x="2914" y="2217"/>
                    <a:pt x="3167" y="2312"/>
                    <a:pt x="3452" y="2407"/>
                  </a:cubicBezTo>
                  <a:lnTo>
                    <a:pt x="3452" y="1394"/>
                  </a:lnTo>
                  <a:cubicBezTo>
                    <a:pt x="3136" y="1330"/>
                    <a:pt x="2851" y="1267"/>
                    <a:pt x="2566" y="1235"/>
                  </a:cubicBezTo>
                  <a:cubicBezTo>
                    <a:pt x="2471" y="1203"/>
                    <a:pt x="2376" y="1203"/>
                    <a:pt x="2249" y="1203"/>
                  </a:cubicBezTo>
                  <a:lnTo>
                    <a:pt x="2249" y="317"/>
                  </a:lnTo>
                  <a:cubicBezTo>
                    <a:pt x="2249" y="127"/>
                    <a:pt x="2091" y="0"/>
                    <a:pt x="1901" y="0"/>
                  </a:cubicBezTo>
                  <a:close/>
                </a:path>
              </a:pathLst>
            </a:custGeom>
            <a:solidFill>
              <a:srgbClr val="C4C4C4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1526;p18">
              <a:extLst>
                <a:ext uri="{FF2B5EF4-FFF2-40B4-BE49-F238E27FC236}">
                  <a16:creationId xmlns:a16="http://schemas.microsoft.com/office/drawing/2014/main" id="{7FE5D768-17BD-3093-DD23-D228275853F5}"/>
                </a:ext>
              </a:extLst>
            </p:cNvPr>
            <p:cNvSpPr/>
            <p:nvPr/>
          </p:nvSpPr>
          <p:spPr>
            <a:xfrm>
              <a:off x="3298125" y="2488125"/>
              <a:ext cx="659550" cy="393525"/>
            </a:xfrm>
            <a:custGeom>
              <a:avLst/>
              <a:gdLst/>
              <a:ahLst/>
              <a:cxnLst/>
              <a:rect l="l" t="t" r="r" b="b"/>
              <a:pathLst>
                <a:path w="26382" h="15741" extrusionOk="0">
                  <a:moveTo>
                    <a:pt x="23499" y="983"/>
                  </a:moveTo>
                  <a:cubicBezTo>
                    <a:pt x="24544" y="983"/>
                    <a:pt x="25400" y="1838"/>
                    <a:pt x="25400" y="2883"/>
                  </a:cubicBezTo>
                  <a:lnTo>
                    <a:pt x="25400" y="12859"/>
                  </a:lnTo>
                  <a:cubicBezTo>
                    <a:pt x="25400" y="13904"/>
                    <a:pt x="24544" y="14759"/>
                    <a:pt x="23499" y="14759"/>
                  </a:cubicBezTo>
                  <a:lnTo>
                    <a:pt x="2883" y="14759"/>
                  </a:lnTo>
                  <a:cubicBezTo>
                    <a:pt x="1838" y="14759"/>
                    <a:pt x="983" y="13904"/>
                    <a:pt x="983" y="12859"/>
                  </a:cubicBezTo>
                  <a:lnTo>
                    <a:pt x="983" y="2883"/>
                  </a:lnTo>
                  <a:cubicBezTo>
                    <a:pt x="983" y="1838"/>
                    <a:pt x="1838" y="983"/>
                    <a:pt x="2883" y="983"/>
                  </a:cubicBezTo>
                  <a:close/>
                  <a:moveTo>
                    <a:pt x="2883" y="1"/>
                  </a:moveTo>
                  <a:cubicBezTo>
                    <a:pt x="1299" y="1"/>
                    <a:pt x="1" y="1299"/>
                    <a:pt x="1" y="2883"/>
                  </a:cubicBezTo>
                  <a:lnTo>
                    <a:pt x="1" y="12859"/>
                  </a:lnTo>
                  <a:cubicBezTo>
                    <a:pt x="1" y="14442"/>
                    <a:pt x="1299" y="15740"/>
                    <a:pt x="2883" y="15740"/>
                  </a:cubicBezTo>
                  <a:lnTo>
                    <a:pt x="23499" y="15740"/>
                  </a:lnTo>
                  <a:cubicBezTo>
                    <a:pt x="25083" y="15740"/>
                    <a:pt x="26381" y="14442"/>
                    <a:pt x="26381" y="12859"/>
                  </a:cubicBezTo>
                  <a:lnTo>
                    <a:pt x="26381" y="2883"/>
                  </a:lnTo>
                  <a:cubicBezTo>
                    <a:pt x="26381" y="1299"/>
                    <a:pt x="25083" y="1"/>
                    <a:pt x="23499" y="1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1527;p18">
              <a:extLst>
                <a:ext uri="{FF2B5EF4-FFF2-40B4-BE49-F238E27FC236}">
                  <a16:creationId xmlns:a16="http://schemas.microsoft.com/office/drawing/2014/main" id="{64B3DCB1-C46D-D716-8647-79BD6340278E}"/>
                </a:ext>
              </a:extLst>
            </p:cNvPr>
            <p:cNvSpPr/>
            <p:nvPr/>
          </p:nvSpPr>
          <p:spPr>
            <a:xfrm>
              <a:off x="3313975" y="2815125"/>
              <a:ext cx="631825" cy="54650"/>
            </a:xfrm>
            <a:custGeom>
              <a:avLst/>
              <a:gdLst/>
              <a:ahLst/>
              <a:cxnLst/>
              <a:rect l="l" t="t" r="r" b="b"/>
              <a:pathLst>
                <a:path w="25273" h="2186" extrusionOk="0">
                  <a:moveTo>
                    <a:pt x="0" y="0"/>
                  </a:moveTo>
                  <a:lnTo>
                    <a:pt x="0" y="285"/>
                  </a:lnTo>
                  <a:cubicBezTo>
                    <a:pt x="0" y="1330"/>
                    <a:pt x="855" y="2185"/>
                    <a:pt x="1900" y="2185"/>
                  </a:cubicBezTo>
                  <a:lnTo>
                    <a:pt x="23372" y="2185"/>
                  </a:lnTo>
                  <a:cubicBezTo>
                    <a:pt x="24417" y="2185"/>
                    <a:pt x="25272" y="1330"/>
                    <a:pt x="25272" y="285"/>
                  </a:cubicBezTo>
                  <a:lnTo>
                    <a:pt x="25272" y="0"/>
                  </a:ln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1528;p18">
              <a:extLst>
                <a:ext uri="{FF2B5EF4-FFF2-40B4-BE49-F238E27FC236}">
                  <a16:creationId xmlns:a16="http://schemas.microsoft.com/office/drawing/2014/main" id="{B562E5BE-839E-CB19-7199-38C2BB0B84B8}"/>
                </a:ext>
              </a:extLst>
            </p:cNvPr>
            <p:cNvSpPr/>
            <p:nvPr/>
          </p:nvSpPr>
          <p:spPr>
            <a:xfrm>
              <a:off x="3583950" y="2820650"/>
              <a:ext cx="111650" cy="111675"/>
            </a:xfrm>
            <a:custGeom>
              <a:avLst/>
              <a:gdLst/>
              <a:ahLst/>
              <a:cxnLst/>
              <a:rect l="l" t="t" r="r" b="b"/>
              <a:pathLst>
                <a:path w="4466" h="4467" extrusionOk="0">
                  <a:moveTo>
                    <a:pt x="0" y="1"/>
                  </a:moveTo>
                  <a:lnTo>
                    <a:pt x="0" y="4466"/>
                  </a:lnTo>
                  <a:lnTo>
                    <a:pt x="4466" y="4466"/>
                  </a:lnTo>
                  <a:lnTo>
                    <a:pt x="4466" y="1"/>
                  </a:ln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1529;p18">
              <a:extLst>
                <a:ext uri="{FF2B5EF4-FFF2-40B4-BE49-F238E27FC236}">
                  <a16:creationId xmlns:a16="http://schemas.microsoft.com/office/drawing/2014/main" id="{8EFB319A-859D-6AC1-0E8E-B15C1D7F6A19}"/>
                </a:ext>
              </a:extLst>
            </p:cNvPr>
            <p:cNvSpPr/>
            <p:nvPr/>
          </p:nvSpPr>
          <p:spPr>
            <a:xfrm>
              <a:off x="3487350" y="2915675"/>
              <a:ext cx="311175" cy="28525"/>
            </a:xfrm>
            <a:custGeom>
              <a:avLst/>
              <a:gdLst/>
              <a:ahLst/>
              <a:cxnLst/>
              <a:rect l="l" t="t" r="r" b="b"/>
              <a:pathLst>
                <a:path w="12447" h="1141" extrusionOk="0">
                  <a:moveTo>
                    <a:pt x="1" y="0"/>
                  </a:moveTo>
                  <a:lnTo>
                    <a:pt x="1" y="1140"/>
                  </a:lnTo>
                  <a:lnTo>
                    <a:pt x="12447" y="1140"/>
                  </a:lnTo>
                  <a:lnTo>
                    <a:pt x="12447" y="0"/>
                  </a:ln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1530;p18">
              <a:extLst>
                <a:ext uri="{FF2B5EF4-FFF2-40B4-BE49-F238E27FC236}">
                  <a16:creationId xmlns:a16="http://schemas.microsoft.com/office/drawing/2014/main" id="{E5A3346A-4D50-CEA8-B6E5-D623688CD82A}"/>
                </a:ext>
              </a:extLst>
            </p:cNvPr>
            <p:cNvSpPr/>
            <p:nvPr/>
          </p:nvSpPr>
          <p:spPr>
            <a:xfrm>
              <a:off x="3440650" y="2667075"/>
              <a:ext cx="95025" cy="95825"/>
            </a:xfrm>
            <a:custGeom>
              <a:avLst/>
              <a:gdLst/>
              <a:ahLst/>
              <a:cxnLst/>
              <a:rect l="l" t="t" r="r" b="b"/>
              <a:pathLst>
                <a:path w="3801" h="3833" extrusionOk="0">
                  <a:moveTo>
                    <a:pt x="0" y="0"/>
                  </a:moveTo>
                  <a:lnTo>
                    <a:pt x="0" y="3832"/>
                  </a:lnTo>
                  <a:lnTo>
                    <a:pt x="3801" y="3832"/>
                  </a:lnTo>
                  <a:lnTo>
                    <a:pt x="3801" y="0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1531;p18">
              <a:extLst>
                <a:ext uri="{FF2B5EF4-FFF2-40B4-BE49-F238E27FC236}">
                  <a16:creationId xmlns:a16="http://schemas.microsoft.com/office/drawing/2014/main" id="{48174A87-0F87-178D-C488-16814AF8F384}"/>
                </a:ext>
              </a:extLst>
            </p:cNvPr>
            <p:cNvSpPr/>
            <p:nvPr/>
          </p:nvSpPr>
          <p:spPr>
            <a:xfrm>
              <a:off x="3575250" y="2621150"/>
              <a:ext cx="95025" cy="140950"/>
            </a:xfrm>
            <a:custGeom>
              <a:avLst/>
              <a:gdLst/>
              <a:ahLst/>
              <a:cxnLst/>
              <a:rect l="l" t="t" r="r" b="b"/>
              <a:pathLst>
                <a:path w="3801" h="5638" extrusionOk="0">
                  <a:moveTo>
                    <a:pt x="0" y="0"/>
                  </a:moveTo>
                  <a:lnTo>
                    <a:pt x="0" y="5637"/>
                  </a:lnTo>
                  <a:lnTo>
                    <a:pt x="3800" y="5637"/>
                  </a:lnTo>
                  <a:lnTo>
                    <a:pt x="3800" y="0"/>
                  </a:lnTo>
                  <a:close/>
                </a:path>
              </a:pathLst>
            </a:custGeom>
            <a:solidFill>
              <a:srgbClr val="F2A36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1532;p18">
              <a:extLst>
                <a:ext uri="{FF2B5EF4-FFF2-40B4-BE49-F238E27FC236}">
                  <a16:creationId xmlns:a16="http://schemas.microsoft.com/office/drawing/2014/main" id="{2C5FAEF7-CE27-766E-8DFB-391743ED7391}"/>
                </a:ext>
              </a:extLst>
            </p:cNvPr>
            <p:cNvSpPr/>
            <p:nvPr/>
          </p:nvSpPr>
          <p:spPr>
            <a:xfrm>
              <a:off x="3709050" y="2572850"/>
              <a:ext cx="95025" cy="189250"/>
            </a:xfrm>
            <a:custGeom>
              <a:avLst/>
              <a:gdLst/>
              <a:ahLst/>
              <a:cxnLst/>
              <a:rect l="l" t="t" r="r" b="b"/>
              <a:pathLst>
                <a:path w="3801" h="7570" extrusionOk="0">
                  <a:moveTo>
                    <a:pt x="0" y="1"/>
                  </a:moveTo>
                  <a:lnTo>
                    <a:pt x="0" y="7569"/>
                  </a:lnTo>
                  <a:lnTo>
                    <a:pt x="3800" y="7569"/>
                  </a:lnTo>
                  <a:lnTo>
                    <a:pt x="3800" y="1"/>
                  </a:ln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1533;p18">
              <a:extLst>
                <a:ext uri="{FF2B5EF4-FFF2-40B4-BE49-F238E27FC236}">
                  <a16:creationId xmlns:a16="http://schemas.microsoft.com/office/drawing/2014/main" id="{2F60F5E4-AA0C-192B-050B-242A87F1325E}"/>
                </a:ext>
              </a:extLst>
            </p:cNvPr>
            <p:cNvSpPr/>
            <p:nvPr/>
          </p:nvSpPr>
          <p:spPr>
            <a:xfrm>
              <a:off x="3633025" y="3284600"/>
              <a:ext cx="25" cy="467150"/>
            </a:xfrm>
            <a:custGeom>
              <a:avLst/>
              <a:gdLst/>
              <a:ahLst/>
              <a:cxnLst/>
              <a:rect l="l" t="t" r="r" b="b"/>
              <a:pathLst>
                <a:path w="1" h="18686" fill="none" extrusionOk="0">
                  <a:moveTo>
                    <a:pt x="1" y="18686"/>
                  </a:moveTo>
                  <a:lnTo>
                    <a:pt x="1" y="1"/>
                  </a:lnTo>
                </a:path>
              </a:pathLst>
            </a:custGeom>
            <a:noFill/>
            <a:ln w="10300" cap="flat" cmpd="sng">
              <a:solidFill>
                <a:srgbClr val="CECECE"/>
              </a:solidFill>
              <a:prstDash val="solid"/>
              <a:miter lim="31669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1534;p18">
              <a:extLst>
                <a:ext uri="{FF2B5EF4-FFF2-40B4-BE49-F238E27FC236}">
                  <a16:creationId xmlns:a16="http://schemas.microsoft.com/office/drawing/2014/main" id="{70DEE2E0-4DAB-1E1D-313E-42F34098F5C3}"/>
                </a:ext>
              </a:extLst>
            </p:cNvPr>
            <p:cNvSpPr/>
            <p:nvPr/>
          </p:nvSpPr>
          <p:spPr>
            <a:xfrm>
              <a:off x="4182500" y="2716950"/>
              <a:ext cx="467150" cy="25"/>
            </a:xfrm>
            <a:custGeom>
              <a:avLst/>
              <a:gdLst/>
              <a:ahLst/>
              <a:cxnLst/>
              <a:rect l="l" t="t" r="r" b="b"/>
              <a:pathLst>
                <a:path w="18686" h="1" fill="none" extrusionOk="0">
                  <a:moveTo>
                    <a:pt x="18685" y="0"/>
                  </a:moveTo>
                  <a:lnTo>
                    <a:pt x="0" y="0"/>
                  </a:lnTo>
                </a:path>
              </a:pathLst>
            </a:custGeom>
            <a:noFill/>
            <a:ln w="10300" cap="flat" cmpd="sng">
              <a:solidFill>
                <a:srgbClr val="CECECE"/>
              </a:solidFill>
              <a:prstDash val="solid"/>
              <a:miter lim="31669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1535;p18">
              <a:extLst>
                <a:ext uri="{FF2B5EF4-FFF2-40B4-BE49-F238E27FC236}">
                  <a16:creationId xmlns:a16="http://schemas.microsoft.com/office/drawing/2014/main" id="{6F518BFA-B7CC-BA65-8AD2-A3D7EC435467}"/>
                </a:ext>
              </a:extLst>
            </p:cNvPr>
            <p:cNvSpPr/>
            <p:nvPr/>
          </p:nvSpPr>
          <p:spPr>
            <a:xfrm>
              <a:off x="3633025" y="1694050"/>
              <a:ext cx="25" cy="467125"/>
            </a:xfrm>
            <a:custGeom>
              <a:avLst/>
              <a:gdLst/>
              <a:ahLst/>
              <a:cxnLst/>
              <a:rect l="l" t="t" r="r" b="b"/>
              <a:pathLst>
                <a:path w="1" h="18685" fill="none" extrusionOk="0">
                  <a:moveTo>
                    <a:pt x="1" y="18685"/>
                  </a:moveTo>
                  <a:lnTo>
                    <a:pt x="1" y="0"/>
                  </a:lnTo>
                </a:path>
              </a:pathLst>
            </a:custGeom>
            <a:noFill/>
            <a:ln w="10300" cap="flat" cmpd="sng">
              <a:solidFill>
                <a:srgbClr val="CECECE"/>
              </a:solidFill>
              <a:prstDash val="solid"/>
              <a:miter lim="31669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1536;p18">
              <a:extLst>
                <a:ext uri="{FF2B5EF4-FFF2-40B4-BE49-F238E27FC236}">
                  <a16:creationId xmlns:a16="http://schemas.microsoft.com/office/drawing/2014/main" id="{00E9FF76-8FDA-3B36-4B93-5DC7C40EF4D3}"/>
                </a:ext>
              </a:extLst>
            </p:cNvPr>
            <p:cNvSpPr/>
            <p:nvPr/>
          </p:nvSpPr>
          <p:spPr>
            <a:xfrm>
              <a:off x="4025725" y="2005975"/>
              <a:ext cx="311975" cy="311975"/>
            </a:xfrm>
            <a:custGeom>
              <a:avLst/>
              <a:gdLst/>
              <a:ahLst/>
              <a:cxnLst/>
              <a:rect l="l" t="t" r="r" b="b"/>
              <a:pathLst>
                <a:path w="12479" h="12479" fill="none" extrusionOk="0">
                  <a:moveTo>
                    <a:pt x="1" y="12478"/>
                  </a:moveTo>
                  <a:lnTo>
                    <a:pt x="12478" y="1"/>
                  </a:lnTo>
                </a:path>
              </a:pathLst>
            </a:custGeom>
            <a:noFill/>
            <a:ln w="10300" cap="flat" cmpd="sng">
              <a:solidFill>
                <a:srgbClr val="CECECE"/>
              </a:solidFill>
              <a:prstDash val="solid"/>
              <a:miter lim="31669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1537;p18">
              <a:extLst>
                <a:ext uri="{FF2B5EF4-FFF2-40B4-BE49-F238E27FC236}">
                  <a16:creationId xmlns:a16="http://schemas.microsoft.com/office/drawing/2014/main" id="{B56DE4D6-12BB-35F5-BE94-F28C3E10C126}"/>
                </a:ext>
              </a:extLst>
            </p:cNvPr>
            <p:cNvSpPr/>
            <p:nvPr/>
          </p:nvSpPr>
          <p:spPr>
            <a:xfrm>
              <a:off x="4021775" y="3109650"/>
              <a:ext cx="311975" cy="311950"/>
            </a:xfrm>
            <a:custGeom>
              <a:avLst/>
              <a:gdLst/>
              <a:ahLst/>
              <a:cxnLst/>
              <a:rect l="l" t="t" r="r" b="b"/>
              <a:pathLst>
                <a:path w="12479" h="12478" fill="none" extrusionOk="0">
                  <a:moveTo>
                    <a:pt x="12478" y="12478"/>
                  </a:moveTo>
                  <a:lnTo>
                    <a:pt x="0" y="0"/>
                  </a:lnTo>
                </a:path>
              </a:pathLst>
            </a:custGeom>
            <a:noFill/>
            <a:ln w="10300" cap="flat" cmpd="sng">
              <a:solidFill>
                <a:srgbClr val="CECECE"/>
              </a:solidFill>
              <a:prstDash val="solid"/>
              <a:miter lim="31669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1538;p18">
              <a:extLst>
                <a:ext uri="{FF2B5EF4-FFF2-40B4-BE49-F238E27FC236}">
                  <a16:creationId xmlns:a16="http://schemas.microsoft.com/office/drawing/2014/main" id="{056EF576-FFBB-C60E-665E-103FC9833D7F}"/>
                </a:ext>
              </a:extLst>
            </p:cNvPr>
            <p:cNvSpPr/>
            <p:nvPr/>
          </p:nvSpPr>
          <p:spPr>
            <a:xfrm>
              <a:off x="4332925" y="2716150"/>
              <a:ext cx="441025" cy="809950"/>
            </a:xfrm>
            <a:custGeom>
              <a:avLst/>
              <a:gdLst/>
              <a:ahLst/>
              <a:cxnLst/>
              <a:rect l="l" t="t" r="r" b="b"/>
              <a:pathLst>
                <a:path w="17641" h="32398" extrusionOk="0">
                  <a:moveTo>
                    <a:pt x="11686" y="1"/>
                  </a:moveTo>
                  <a:cubicBezTo>
                    <a:pt x="11686" y="10990"/>
                    <a:pt x="7221" y="20965"/>
                    <a:pt x="0" y="28186"/>
                  </a:cubicBezTo>
                  <a:lnTo>
                    <a:pt x="4212" y="32398"/>
                  </a:lnTo>
                  <a:cubicBezTo>
                    <a:pt x="12510" y="24101"/>
                    <a:pt x="17640" y="12636"/>
                    <a:pt x="17640" y="1"/>
                  </a:cubicBezTo>
                  <a:close/>
                </a:path>
              </a:pathLst>
            </a:custGeom>
            <a:solidFill>
              <a:srgbClr val="F2A36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1539;p18">
              <a:extLst>
                <a:ext uri="{FF2B5EF4-FFF2-40B4-BE49-F238E27FC236}">
                  <a16:creationId xmlns:a16="http://schemas.microsoft.com/office/drawing/2014/main" id="{FECE39E3-1D9B-A8F1-490F-489CC1E21C28}"/>
                </a:ext>
              </a:extLst>
            </p:cNvPr>
            <p:cNvSpPr/>
            <p:nvPr/>
          </p:nvSpPr>
          <p:spPr>
            <a:xfrm>
              <a:off x="4332125" y="1906225"/>
              <a:ext cx="441825" cy="809950"/>
            </a:xfrm>
            <a:custGeom>
              <a:avLst/>
              <a:gdLst/>
              <a:ahLst/>
              <a:cxnLst/>
              <a:rect l="l" t="t" r="r" b="b"/>
              <a:pathLst>
                <a:path w="17673" h="32398" extrusionOk="0">
                  <a:moveTo>
                    <a:pt x="4244" y="0"/>
                  </a:moveTo>
                  <a:lnTo>
                    <a:pt x="1" y="4212"/>
                  </a:lnTo>
                  <a:cubicBezTo>
                    <a:pt x="7253" y="11433"/>
                    <a:pt x="11718" y="21409"/>
                    <a:pt x="11718" y="32398"/>
                  </a:cubicBezTo>
                  <a:lnTo>
                    <a:pt x="17672" y="32398"/>
                  </a:lnTo>
                  <a:cubicBezTo>
                    <a:pt x="17672" y="19762"/>
                    <a:pt x="12542" y="8298"/>
                    <a:pt x="4244" y="0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1540;p18">
              <a:extLst>
                <a:ext uri="{FF2B5EF4-FFF2-40B4-BE49-F238E27FC236}">
                  <a16:creationId xmlns:a16="http://schemas.microsoft.com/office/drawing/2014/main" id="{0E75A44C-D304-35B1-F80A-C4998106E547}"/>
                </a:ext>
              </a:extLst>
            </p:cNvPr>
            <p:cNvSpPr/>
            <p:nvPr/>
          </p:nvSpPr>
          <p:spPr>
            <a:xfrm>
              <a:off x="3628275" y="3420775"/>
              <a:ext cx="809975" cy="441825"/>
            </a:xfrm>
            <a:custGeom>
              <a:avLst/>
              <a:gdLst/>
              <a:ahLst/>
              <a:cxnLst/>
              <a:rect l="l" t="t" r="r" b="b"/>
              <a:pathLst>
                <a:path w="32399" h="17673" extrusionOk="0">
                  <a:moveTo>
                    <a:pt x="28186" y="1"/>
                  </a:moveTo>
                  <a:cubicBezTo>
                    <a:pt x="20966" y="7221"/>
                    <a:pt x="10990" y="11687"/>
                    <a:pt x="1" y="11687"/>
                  </a:cubicBezTo>
                  <a:lnTo>
                    <a:pt x="1" y="17672"/>
                  </a:lnTo>
                  <a:cubicBezTo>
                    <a:pt x="12637" y="17672"/>
                    <a:pt x="24101" y="12510"/>
                    <a:pt x="32398" y="4213"/>
                  </a:cubicBezTo>
                  <a:lnTo>
                    <a:pt x="28186" y="1"/>
                  </a:ln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5" name="Google Shape;1541;p18">
            <a:extLst>
              <a:ext uri="{FF2B5EF4-FFF2-40B4-BE49-F238E27FC236}">
                <a16:creationId xmlns:a16="http://schemas.microsoft.com/office/drawing/2014/main" id="{BE93CFAB-88D9-7874-08BC-A54352E99071}"/>
              </a:ext>
            </a:extLst>
          </p:cNvPr>
          <p:cNvSpPr txBox="1"/>
          <p:nvPr/>
        </p:nvSpPr>
        <p:spPr>
          <a:xfrm>
            <a:off x="1699059" y="1932997"/>
            <a:ext cx="2228100" cy="247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latin typeface="Fira Sans Medium"/>
                <a:ea typeface="Fira Sans Medium"/>
                <a:cs typeface="Fira Sans Medium"/>
                <a:sym typeface="Fira Sans Medium"/>
              </a:rPr>
              <a:t>Agenda</a:t>
            </a:r>
            <a:endParaRPr sz="2800" dirty="0">
              <a:latin typeface="Fira Sans Medium"/>
              <a:ea typeface="Fira Sans Medium"/>
              <a:cs typeface="Fira Sans Medium"/>
              <a:sym typeface="Fira Sans Medium"/>
            </a:endParaRPr>
          </a:p>
        </p:txBody>
      </p:sp>
      <p:sp>
        <p:nvSpPr>
          <p:cNvPr id="46" name="Google Shape;1542;p18">
            <a:extLst>
              <a:ext uri="{FF2B5EF4-FFF2-40B4-BE49-F238E27FC236}">
                <a16:creationId xmlns:a16="http://schemas.microsoft.com/office/drawing/2014/main" id="{26FE7E6C-C99B-F81A-E79E-F2A935F75B87}"/>
              </a:ext>
            </a:extLst>
          </p:cNvPr>
          <p:cNvSpPr txBox="1"/>
          <p:nvPr/>
        </p:nvSpPr>
        <p:spPr>
          <a:xfrm>
            <a:off x="7265731" y="1419087"/>
            <a:ext cx="2412600" cy="3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300">
                <a:solidFill>
                  <a:srgbClr val="CCCCCC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rPr>
              <a:t>01</a:t>
            </a:r>
            <a:endParaRPr sz="2300">
              <a:solidFill>
                <a:srgbClr val="CCCCCC"/>
              </a:solidFill>
              <a:latin typeface="Fira Sans Extra Condensed Medium"/>
              <a:ea typeface="Fira Sans Extra Condensed Medium"/>
              <a:cs typeface="Fira Sans Extra Condensed Medium"/>
              <a:sym typeface="Fira Sans Extra Condensed Medium"/>
            </a:endParaRPr>
          </a:p>
        </p:txBody>
      </p:sp>
      <p:sp>
        <p:nvSpPr>
          <p:cNvPr id="47" name="Google Shape;1543;p18">
            <a:extLst>
              <a:ext uri="{FF2B5EF4-FFF2-40B4-BE49-F238E27FC236}">
                <a16:creationId xmlns:a16="http://schemas.microsoft.com/office/drawing/2014/main" id="{9A2FB36C-C5BE-632F-2CFA-4256FF12AB6F}"/>
              </a:ext>
            </a:extLst>
          </p:cNvPr>
          <p:cNvSpPr txBox="1"/>
          <p:nvPr/>
        </p:nvSpPr>
        <p:spPr>
          <a:xfrm>
            <a:off x="7265738" y="1762487"/>
            <a:ext cx="2412600" cy="45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dirty="0">
                <a:latin typeface="Fira Sans"/>
                <a:ea typeface="Fira Sans"/>
                <a:cs typeface="Fira Sans"/>
                <a:sym typeface="Fira Sans"/>
              </a:rPr>
              <a:t>Functional blocks AI Solution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" sz="1200" dirty="0">
                <a:latin typeface="Fira Sans"/>
                <a:ea typeface="Fira Sans"/>
                <a:cs typeface="Fira Sans"/>
                <a:sym typeface="Fira Sans"/>
              </a:rPr>
              <a:t>Core Block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" sz="1200" dirty="0">
                <a:latin typeface="Fira Sans"/>
                <a:ea typeface="Fira Sans"/>
                <a:cs typeface="Fira Sans"/>
                <a:sym typeface="Fira Sans"/>
              </a:rPr>
              <a:t>Support Blocks</a:t>
            </a:r>
            <a:endParaRPr sz="1200" dirty="0"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48" name="Google Shape;1544;p18">
            <a:extLst>
              <a:ext uri="{FF2B5EF4-FFF2-40B4-BE49-F238E27FC236}">
                <a16:creationId xmlns:a16="http://schemas.microsoft.com/office/drawing/2014/main" id="{422EF188-85E9-1D43-378E-38A07EB1E834}"/>
              </a:ext>
            </a:extLst>
          </p:cNvPr>
          <p:cNvSpPr txBox="1"/>
          <p:nvPr/>
        </p:nvSpPr>
        <p:spPr>
          <a:xfrm>
            <a:off x="7265738" y="2438462"/>
            <a:ext cx="2412600" cy="3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300" dirty="0">
                <a:solidFill>
                  <a:srgbClr val="30475E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rPr>
              <a:t>02</a:t>
            </a:r>
            <a:endParaRPr sz="2300" dirty="0">
              <a:solidFill>
                <a:srgbClr val="30475E"/>
              </a:solidFill>
              <a:latin typeface="Fira Sans Extra Condensed Medium"/>
              <a:ea typeface="Fira Sans Extra Condensed Medium"/>
              <a:cs typeface="Fira Sans Extra Condensed Medium"/>
              <a:sym typeface="Fira Sans Extra Condensed Medium"/>
            </a:endParaRPr>
          </a:p>
        </p:txBody>
      </p:sp>
      <p:sp>
        <p:nvSpPr>
          <p:cNvPr id="49" name="Google Shape;1545;p18">
            <a:extLst>
              <a:ext uri="{FF2B5EF4-FFF2-40B4-BE49-F238E27FC236}">
                <a16:creationId xmlns:a16="http://schemas.microsoft.com/office/drawing/2014/main" id="{7F3E4C43-BEFE-0B69-AA7F-DB3202CEDD57}"/>
              </a:ext>
            </a:extLst>
          </p:cNvPr>
          <p:cNvSpPr txBox="1"/>
          <p:nvPr/>
        </p:nvSpPr>
        <p:spPr>
          <a:xfrm>
            <a:off x="7265738" y="2793666"/>
            <a:ext cx="2412600" cy="45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dirty="0">
                <a:latin typeface="Fira Sans"/>
                <a:ea typeface="Fira Sans"/>
                <a:cs typeface="Fira Sans"/>
                <a:sym typeface="Fira Sans"/>
              </a:rPr>
              <a:t>LLM OPS and Roles</a:t>
            </a:r>
            <a:endParaRPr sz="1200" dirty="0"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50" name="Google Shape;1546;p18">
            <a:extLst>
              <a:ext uri="{FF2B5EF4-FFF2-40B4-BE49-F238E27FC236}">
                <a16:creationId xmlns:a16="http://schemas.microsoft.com/office/drawing/2014/main" id="{9BD07FD3-E54D-F379-B957-A0C88206ED1D}"/>
              </a:ext>
            </a:extLst>
          </p:cNvPr>
          <p:cNvSpPr txBox="1"/>
          <p:nvPr/>
        </p:nvSpPr>
        <p:spPr>
          <a:xfrm>
            <a:off x="7265738" y="3435962"/>
            <a:ext cx="2412600" cy="3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300">
                <a:solidFill>
                  <a:srgbClr val="F2A365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rPr>
              <a:t>03</a:t>
            </a:r>
            <a:endParaRPr sz="2300">
              <a:solidFill>
                <a:srgbClr val="F2A365"/>
              </a:solidFill>
              <a:latin typeface="Fira Sans Extra Condensed Medium"/>
              <a:ea typeface="Fira Sans Extra Condensed Medium"/>
              <a:cs typeface="Fira Sans Extra Condensed Medium"/>
              <a:sym typeface="Fira Sans Extra Condensed Medium"/>
            </a:endParaRPr>
          </a:p>
        </p:txBody>
      </p:sp>
      <p:sp>
        <p:nvSpPr>
          <p:cNvPr id="51" name="Google Shape;1547;p18">
            <a:extLst>
              <a:ext uri="{FF2B5EF4-FFF2-40B4-BE49-F238E27FC236}">
                <a16:creationId xmlns:a16="http://schemas.microsoft.com/office/drawing/2014/main" id="{8E9F13FA-9791-5754-31BD-2EB36DB1239A}"/>
              </a:ext>
            </a:extLst>
          </p:cNvPr>
          <p:cNvSpPr txBox="1"/>
          <p:nvPr/>
        </p:nvSpPr>
        <p:spPr>
          <a:xfrm>
            <a:off x="7265738" y="3791162"/>
            <a:ext cx="2412600" cy="45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dirty="0">
                <a:latin typeface="Fira Sans"/>
                <a:ea typeface="Fira Sans"/>
                <a:cs typeface="Fira Sans"/>
                <a:sym typeface="Fira Sans"/>
              </a:rPr>
              <a:t>LLM Lifecycle</a:t>
            </a:r>
            <a:endParaRPr sz="1200" dirty="0"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52" name="Google Shape;1548;p18">
            <a:extLst>
              <a:ext uri="{FF2B5EF4-FFF2-40B4-BE49-F238E27FC236}">
                <a16:creationId xmlns:a16="http://schemas.microsoft.com/office/drawing/2014/main" id="{C1747999-AB83-689F-AC9C-2D8F9081D6E4}"/>
              </a:ext>
            </a:extLst>
          </p:cNvPr>
          <p:cNvSpPr txBox="1"/>
          <p:nvPr/>
        </p:nvSpPr>
        <p:spPr>
          <a:xfrm>
            <a:off x="7265731" y="4433462"/>
            <a:ext cx="2412600" cy="3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300">
                <a:solidFill>
                  <a:srgbClr val="22283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rPr>
              <a:t>04</a:t>
            </a:r>
            <a:endParaRPr sz="2300">
              <a:solidFill>
                <a:srgbClr val="222831"/>
              </a:solidFill>
              <a:latin typeface="Fira Sans Extra Condensed Medium"/>
              <a:ea typeface="Fira Sans Extra Condensed Medium"/>
              <a:cs typeface="Fira Sans Extra Condensed Medium"/>
              <a:sym typeface="Fira Sans Extra Condensed Medium"/>
            </a:endParaRPr>
          </a:p>
        </p:txBody>
      </p:sp>
      <p:sp>
        <p:nvSpPr>
          <p:cNvPr id="53" name="Google Shape;1549;p18">
            <a:extLst>
              <a:ext uri="{FF2B5EF4-FFF2-40B4-BE49-F238E27FC236}">
                <a16:creationId xmlns:a16="http://schemas.microsoft.com/office/drawing/2014/main" id="{6A509775-0492-0999-9A19-ACC87C4FA06B}"/>
              </a:ext>
            </a:extLst>
          </p:cNvPr>
          <p:cNvSpPr txBox="1"/>
          <p:nvPr/>
        </p:nvSpPr>
        <p:spPr>
          <a:xfrm>
            <a:off x="7265738" y="4788687"/>
            <a:ext cx="2412600" cy="45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dirty="0">
                <a:latin typeface="Fira Sans"/>
                <a:ea typeface="Fira Sans"/>
                <a:cs typeface="Fira Sans"/>
                <a:sym typeface="Fira Sans"/>
              </a:rPr>
              <a:t>Use Case handling</a:t>
            </a:r>
            <a:endParaRPr sz="1200" dirty="0">
              <a:latin typeface="Fira Sans"/>
              <a:ea typeface="Fira Sans"/>
              <a:cs typeface="Fira Sans"/>
              <a:sym typeface="Fira Sans"/>
            </a:endParaRPr>
          </a:p>
        </p:txBody>
      </p:sp>
      <p:cxnSp>
        <p:nvCxnSpPr>
          <p:cNvPr id="54" name="Google Shape;1550;p18">
            <a:extLst>
              <a:ext uri="{FF2B5EF4-FFF2-40B4-BE49-F238E27FC236}">
                <a16:creationId xmlns:a16="http://schemas.microsoft.com/office/drawing/2014/main" id="{9DC202A9-C30E-C32D-917E-2CC63F4A46C8}"/>
              </a:ext>
            </a:extLst>
          </p:cNvPr>
          <p:cNvCxnSpPr/>
          <p:nvPr/>
        </p:nvCxnSpPr>
        <p:spPr>
          <a:xfrm>
            <a:off x="7336481" y="1762487"/>
            <a:ext cx="297600" cy="0"/>
          </a:xfrm>
          <a:prstGeom prst="straightConnector1">
            <a:avLst/>
          </a:prstGeom>
          <a:noFill/>
          <a:ln w="9525" cap="flat" cmpd="sng">
            <a:solidFill>
              <a:srgbClr val="434343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55" name="Google Shape;1551;p18">
            <a:extLst>
              <a:ext uri="{FF2B5EF4-FFF2-40B4-BE49-F238E27FC236}">
                <a16:creationId xmlns:a16="http://schemas.microsoft.com/office/drawing/2014/main" id="{C8DF5AAB-247C-CC00-0012-1511A76B9914}"/>
              </a:ext>
            </a:extLst>
          </p:cNvPr>
          <p:cNvCxnSpPr/>
          <p:nvPr/>
        </p:nvCxnSpPr>
        <p:spPr>
          <a:xfrm>
            <a:off x="7336481" y="2793662"/>
            <a:ext cx="2976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56" name="Google Shape;1552;p18">
            <a:extLst>
              <a:ext uri="{FF2B5EF4-FFF2-40B4-BE49-F238E27FC236}">
                <a16:creationId xmlns:a16="http://schemas.microsoft.com/office/drawing/2014/main" id="{FD897084-0DB3-555F-9FE5-9719659D0A04}"/>
              </a:ext>
            </a:extLst>
          </p:cNvPr>
          <p:cNvCxnSpPr/>
          <p:nvPr/>
        </p:nvCxnSpPr>
        <p:spPr>
          <a:xfrm>
            <a:off x="7336481" y="3791162"/>
            <a:ext cx="2976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57" name="Google Shape;1553;p18">
            <a:extLst>
              <a:ext uri="{FF2B5EF4-FFF2-40B4-BE49-F238E27FC236}">
                <a16:creationId xmlns:a16="http://schemas.microsoft.com/office/drawing/2014/main" id="{AC069840-0A61-B790-10F0-87081E76EC8F}"/>
              </a:ext>
            </a:extLst>
          </p:cNvPr>
          <p:cNvCxnSpPr/>
          <p:nvPr/>
        </p:nvCxnSpPr>
        <p:spPr>
          <a:xfrm>
            <a:off x="7336481" y="4788662"/>
            <a:ext cx="2976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6673121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3CFDF74-BADB-CF98-849E-785B871881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75850" y="6336645"/>
            <a:ext cx="2743200" cy="365125"/>
          </a:xfrm>
        </p:spPr>
        <p:txBody>
          <a:bodyPr/>
          <a:lstStyle/>
          <a:p>
            <a:fld id="{BBE0597C-028E-473F-BF50-BBB8B8A24EC3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18" name="Google Shape;2760;p31">
            <a:extLst>
              <a:ext uri="{FF2B5EF4-FFF2-40B4-BE49-F238E27FC236}">
                <a16:creationId xmlns:a16="http://schemas.microsoft.com/office/drawing/2014/main" id="{A817BF78-E27A-7826-7E5B-F5608F52347B}"/>
              </a:ext>
            </a:extLst>
          </p:cNvPr>
          <p:cNvSpPr/>
          <p:nvPr/>
        </p:nvSpPr>
        <p:spPr>
          <a:xfrm>
            <a:off x="6270996" y="2547560"/>
            <a:ext cx="110108" cy="79814"/>
          </a:xfrm>
          <a:custGeom>
            <a:avLst/>
            <a:gdLst/>
            <a:ahLst/>
            <a:cxnLst/>
            <a:rect l="l" t="t" r="r" b="b"/>
            <a:pathLst>
              <a:path w="3453" h="2503" extrusionOk="0">
                <a:moveTo>
                  <a:pt x="0" y="0"/>
                </a:moveTo>
                <a:lnTo>
                  <a:pt x="855" y="1267"/>
                </a:lnTo>
                <a:lnTo>
                  <a:pt x="1710" y="2502"/>
                </a:lnTo>
                <a:lnTo>
                  <a:pt x="2597" y="1267"/>
                </a:lnTo>
                <a:lnTo>
                  <a:pt x="3452" y="0"/>
                </a:lnTo>
                <a:close/>
              </a:path>
            </a:pathLst>
          </a:custGeom>
          <a:solidFill>
            <a:srgbClr val="C4C4C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" name="Google Shape;2761;p31">
            <a:extLst>
              <a:ext uri="{FF2B5EF4-FFF2-40B4-BE49-F238E27FC236}">
                <a16:creationId xmlns:a16="http://schemas.microsoft.com/office/drawing/2014/main" id="{52188B5E-6BEF-02AD-8241-701CA1A3DE6F}"/>
              </a:ext>
            </a:extLst>
          </p:cNvPr>
          <p:cNvSpPr/>
          <p:nvPr/>
        </p:nvSpPr>
        <p:spPr>
          <a:xfrm>
            <a:off x="5875113" y="2675812"/>
            <a:ext cx="476686" cy="8099"/>
          </a:xfrm>
          <a:custGeom>
            <a:avLst/>
            <a:gdLst/>
            <a:ahLst/>
            <a:cxnLst/>
            <a:rect l="l" t="t" r="r" b="b"/>
            <a:pathLst>
              <a:path w="14949" h="254" extrusionOk="0">
                <a:moveTo>
                  <a:pt x="1" y="0"/>
                </a:moveTo>
                <a:lnTo>
                  <a:pt x="1" y="254"/>
                </a:lnTo>
                <a:lnTo>
                  <a:pt x="14949" y="254"/>
                </a:lnTo>
                <a:lnTo>
                  <a:pt x="14949" y="0"/>
                </a:lnTo>
                <a:close/>
              </a:path>
            </a:pathLst>
          </a:custGeom>
          <a:solidFill>
            <a:srgbClr val="C4C4C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" name="Google Shape;2762;p31">
            <a:extLst>
              <a:ext uri="{FF2B5EF4-FFF2-40B4-BE49-F238E27FC236}">
                <a16:creationId xmlns:a16="http://schemas.microsoft.com/office/drawing/2014/main" id="{2EA32547-7689-C35A-185F-B0422DDE6CA8}"/>
              </a:ext>
            </a:extLst>
          </p:cNvPr>
          <p:cNvSpPr/>
          <p:nvPr/>
        </p:nvSpPr>
        <p:spPr>
          <a:xfrm>
            <a:off x="4995560" y="3542259"/>
            <a:ext cx="8099" cy="476654"/>
          </a:xfrm>
          <a:custGeom>
            <a:avLst/>
            <a:gdLst/>
            <a:ahLst/>
            <a:cxnLst/>
            <a:rect l="l" t="t" r="r" b="b"/>
            <a:pathLst>
              <a:path w="254" h="14948" extrusionOk="0">
                <a:moveTo>
                  <a:pt x="0" y="0"/>
                </a:moveTo>
                <a:lnTo>
                  <a:pt x="0" y="14948"/>
                </a:lnTo>
                <a:lnTo>
                  <a:pt x="253" y="14948"/>
                </a:lnTo>
                <a:lnTo>
                  <a:pt x="253" y="0"/>
                </a:lnTo>
                <a:close/>
              </a:path>
            </a:pathLst>
          </a:custGeom>
          <a:solidFill>
            <a:srgbClr val="C4C4C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" name="Google Shape;2763;p31">
            <a:extLst>
              <a:ext uri="{FF2B5EF4-FFF2-40B4-BE49-F238E27FC236}">
                <a16:creationId xmlns:a16="http://schemas.microsoft.com/office/drawing/2014/main" id="{63C13F60-CBB9-63EB-FCD6-58D0DD49F419}"/>
              </a:ext>
            </a:extLst>
          </p:cNvPr>
          <p:cNvSpPr/>
          <p:nvPr/>
        </p:nvSpPr>
        <p:spPr>
          <a:xfrm>
            <a:off x="3653447" y="2675812"/>
            <a:ext cx="476686" cy="8099"/>
          </a:xfrm>
          <a:custGeom>
            <a:avLst/>
            <a:gdLst/>
            <a:ahLst/>
            <a:cxnLst/>
            <a:rect l="l" t="t" r="r" b="b"/>
            <a:pathLst>
              <a:path w="14949" h="254" extrusionOk="0">
                <a:moveTo>
                  <a:pt x="1" y="0"/>
                </a:moveTo>
                <a:lnTo>
                  <a:pt x="1" y="254"/>
                </a:lnTo>
                <a:lnTo>
                  <a:pt x="14949" y="254"/>
                </a:lnTo>
                <a:lnTo>
                  <a:pt x="14949" y="0"/>
                </a:lnTo>
                <a:close/>
              </a:path>
            </a:pathLst>
          </a:custGeom>
          <a:solidFill>
            <a:srgbClr val="969797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" name="Google Shape;2764;p31">
            <a:extLst>
              <a:ext uri="{FF2B5EF4-FFF2-40B4-BE49-F238E27FC236}">
                <a16:creationId xmlns:a16="http://schemas.microsoft.com/office/drawing/2014/main" id="{948DF3AF-C5F0-54DE-2B8C-D16F15DC51C9}"/>
              </a:ext>
            </a:extLst>
          </p:cNvPr>
          <p:cNvSpPr/>
          <p:nvPr/>
        </p:nvSpPr>
        <p:spPr>
          <a:xfrm>
            <a:off x="4999577" y="2674791"/>
            <a:ext cx="877608" cy="877576"/>
          </a:xfrm>
          <a:custGeom>
            <a:avLst/>
            <a:gdLst/>
            <a:ahLst/>
            <a:cxnLst/>
            <a:rect l="l" t="t" r="r" b="b"/>
            <a:pathLst>
              <a:path w="27522" h="27521" extrusionOk="0">
                <a:moveTo>
                  <a:pt x="23056" y="1"/>
                </a:moveTo>
                <a:lnTo>
                  <a:pt x="23056" y="32"/>
                </a:lnTo>
                <a:cubicBezTo>
                  <a:pt x="23056" y="12763"/>
                  <a:pt x="12732" y="23087"/>
                  <a:pt x="1" y="23087"/>
                </a:cubicBezTo>
                <a:lnTo>
                  <a:pt x="1" y="27521"/>
                </a:lnTo>
                <a:cubicBezTo>
                  <a:pt x="15202" y="27521"/>
                  <a:pt x="27521" y="15202"/>
                  <a:pt x="27521" y="1"/>
                </a:cubicBezTo>
                <a:close/>
              </a:path>
            </a:pathLst>
          </a:custGeom>
          <a:solidFill>
            <a:srgbClr val="22283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" name="Google Shape;2765;p31">
            <a:extLst>
              <a:ext uri="{FF2B5EF4-FFF2-40B4-BE49-F238E27FC236}">
                <a16:creationId xmlns:a16="http://schemas.microsoft.com/office/drawing/2014/main" id="{0A8F8AE0-EA5D-90B7-83C1-07E0BD2C45C2}"/>
              </a:ext>
            </a:extLst>
          </p:cNvPr>
          <p:cNvSpPr/>
          <p:nvPr/>
        </p:nvSpPr>
        <p:spPr>
          <a:xfrm>
            <a:off x="4122033" y="2674791"/>
            <a:ext cx="877576" cy="877576"/>
          </a:xfrm>
          <a:custGeom>
            <a:avLst/>
            <a:gdLst/>
            <a:ahLst/>
            <a:cxnLst/>
            <a:rect l="l" t="t" r="r" b="b"/>
            <a:pathLst>
              <a:path w="27521" h="27521" extrusionOk="0">
                <a:moveTo>
                  <a:pt x="0" y="1"/>
                </a:moveTo>
                <a:cubicBezTo>
                  <a:pt x="0" y="15202"/>
                  <a:pt x="12320" y="27521"/>
                  <a:pt x="27521" y="27521"/>
                </a:cubicBezTo>
                <a:lnTo>
                  <a:pt x="27521" y="23087"/>
                </a:lnTo>
                <a:cubicBezTo>
                  <a:pt x="14790" y="23087"/>
                  <a:pt x="4466" y="12763"/>
                  <a:pt x="4466" y="32"/>
                </a:cubicBezTo>
                <a:lnTo>
                  <a:pt x="4466" y="1"/>
                </a:lnTo>
                <a:close/>
              </a:path>
            </a:pathLst>
          </a:custGeom>
          <a:solidFill>
            <a:srgbClr val="30475E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" name="Google Shape;2766;p31">
            <a:extLst>
              <a:ext uri="{FF2B5EF4-FFF2-40B4-BE49-F238E27FC236}">
                <a16:creationId xmlns:a16="http://schemas.microsoft.com/office/drawing/2014/main" id="{2C13398B-47D8-2A29-6716-3AE78A6EFF6F}"/>
              </a:ext>
            </a:extLst>
          </p:cNvPr>
          <p:cNvSpPr/>
          <p:nvPr/>
        </p:nvSpPr>
        <p:spPr>
          <a:xfrm>
            <a:off x="4122033" y="1799257"/>
            <a:ext cx="1755152" cy="877576"/>
          </a:xfrm>
          <a:custGeom>
            <a:avLst/>
            <a:gdLst/>
            <a:ahLst/>
            <a:cxnLst/>
            <a:rect l="l" t="t" r="r" b="b"/>
            <a:pathLst>
              <a:path w="55042" h="27521" extrusionOk="0">
                <a:moveTo>
                  <a:pt x="27521" y="1"/>
                </a:moveTo>
                <a:cubicBezTo>
                  <a:pt x="12320" y="1"/>
                  <a:pt x="0" y="12320"/>
                  <a:pt x="0" y="27521"/>
                </a:cubicBezTo>
                <a:lnTo>
                  <a:pt x="4466" y="27521"/>
                </a:lnTo>
                <a:lnTo>
                  <a:pt x="4466" y="27489"/>
                </a:lnTo>
                <a:cubicBezTo>
                  <a:pt x="4466" y="14758"/>
                  <a:pt x="14790" y="4434"/>
                  <a:pt x="27521" y="4434"/>
                </a:cubicBezTo>
                <a:cubicBezTo>
                  <a:pt x="40252" y="4434"/>
                  <a:pt x="50576" y="14758"/>
                  <a:pt x="50576" y="27489"/>
                </a:cubicBezTo>
                <a:lnTo>
                  <a:pt x="50576" y="27521"/>
                </a:lnTo>
                <a:lnTo>
                  <a:pt x="55041" y="27521"/>
                </a:lnTo>
                <a:cubicBezTo>
                  <a:pt x="55041" y="12320"/>
                  <a:pt x="42722" y="1"/>
                  <a:pt x="27521" y="1"/>
                </a:cubicBezTo>
                <a:close/>
              </a:path>
            </a:pathLst>
          </a:custGeom>
          <a:solidFill>
            <a:srgbClr val="F2A365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" name="Google Shape;2767;p31">
            <a:extLst>
              <a:ext uri="{FF2B5EF4-FFF2-40B4-BE49-F238E27FC236}">
                <a16:creationId xmlns:a16="http://schemas.microsoft.com/office/drawing/2014/main" id="{EF59E097-D2C9-8906-C1DC-05B76346CAF6}"/>
              </a:ext>
            </a:extLst>
          </p:cNvPr>
          <p:cNvSpPr/>
          <p:nvPr/>
        </p:nvSpPr>
        <p:spPr>
          <a:xfrm>
            <a:off x="3880677" y="1556912"/>
            <a:ext cx="2237865" cy="1118932"/>
          </a:xfrm>
          <a:custGeom>
            <a:avLst/>
            <a:gdLst/>
            <a:ahLst/>
            <a:cxnLst/>
            <a:rect l="l" t="t" r="r" b="b"/>
            <a:pathLst>
              <a:path w="70180" h="35090" extrusionOk="0">
                <a:moveTo>
                  <a:pt x="35090" y="0"/>
                </a:moveTo>
                <a:cubicBezTo>
                  <a:pt x="15740" y="0"/>
                  <a:pt x="0" y="15740"/>
                  <a:pt x="0" y="35089"/>
                </a:cubicBezTo>
                <a:lnTo>
                  <a:pt x="1457" y="35089"/>
                </a:lnTo>
                <a:cubicBezTo>
                  <a:pt x="1457" y="16563"/>
                  <a:pt x="16563" y="1457"/>
                  <a:pt x="35090" y="1457"/>
                </a:cubicBezTo>
                <a:cubicBezTo>
                  <a:pt x="53648" y="1457"/>
                  <a:pt x="68722" y="16563"/>
                  <a:pt x="68722" y="35089"/>
                </a:cubicBezTo>
                <a:lnTo>
                  <a:pt x="70179" y="35089"/>
                </a:lnTo>
                <a:cubicBezTo>
                  <a:pt x="70179" y="15740"/>
                  <a:pt x="54440" y="0"/>
                  <a:pt x="35090" y="0"/>
                </a:cubicBezTo>
                <a:close/>
              </a:path>
            </a:pathLst>
          </a:custGeom>
          <a:solidFill>
            <a:srgbClr val="F2A365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" name="Google Shape;2768;p31">
            <a:extLst>
              <a:ext uri="{FF2B5EF4-FFF2-40B4-BE49-F238E27FC236}">
                <a16:creationId xmlns:a16="http://schemas.microsoft.com/office/drawing/2014/main" id="{AF710D23-E485-1573-F18B-1068FECACBDB}"/>
              </a:ext>
            </a:extLst>
          </p:cNvPr>
          <p:cNvSpPr/>
          <p:nvPr/>
        </p:nvSpPr>
        <p:spPr>
          <a:xfrm>
            <a:off x="3900862" y="2675812"/>
            <a:ext cx="1098748" cy="1099736"/>
          </a:xfrm>
          <a:custGeom>
            <a:avLst/>
            <a:gdLst/>
            <a:ahLst/>
            <a:cxnLst/>
            <a:rect l="l" t="t" r="r" b="b"/>
            <a:pathLst>
              <a:path w="34457" h="34488" extrusionOk="0">
                <a:moveTo>
                  <a:pt x="1" y="0"/>
                </a:moveTo>
                <a:cubicBezTo>
                  <a:pt x="1" y="19002"/>
                  <a:pt x="15455" y="34488"/>
                  <a:pt x="34457" y="34488"/>
                </a:cubicBezTo>
                <a:lnTo>
                  <a:pt x="34457" y="34234"/>
                </a:lnTo>
                <a:cubicBezTo>
                  <a:pt x="15582" y="34234"/>
                  <a:pt x="223" y="18875"/>
                  <a:pt x="223" y="0"/>
                </a:cubicBezTo>
                <a:close/>
              </a:path>
            </a:pathLst>
          </a:custGeom>
          <a:solidFill>
            <a:srgbClr val="C4C4C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" name="Google Shape;2769;p31">
            <a:extLst>
              <a:ext uri="{FF2B5EF4-FFF2-40B4-BE49-F238E27FC236}">
                <a16:creationId xmlns:a16="http://schemas.microsoft.com/office/drawing/2014/main" id="{BD92891A-C440-839A-B43C-189FB5453983}"/>
              </a:ext>
            </a:extLst>
          </p:cNvPr>
          <p:cNvSpPr/>
          <p:nvPr/>
        </p:nvSpPr>
        <p:spPr>
          <a:xfrm>
            <a:off x="4999577" y="2675812"/>
            <a:ext cx="1099768" cy="1099736"/>
          </a:xfrm>
          <a:custGeom>
            <a:avLst/>
            <a:gdLst/>
            <a:ahLst/>
            <a:cxnLst/>
            <a:rect l="l" t="t" r="r" b="b"/>
            <a:pathLst>
              <a:path w="34489" h="34488" extrusionOk="0">
                <a:moveTo>
                  <a:pt x="34235" y="0"/>
                </a:moveTo>
                <a:cubicBezTo>
                  <a:pt x="34235" y="18875"/>
                  <a:pt x="18876" y="34234"/>
                  <a:pt x="1" y="34234"/>
                </a:cubicBezTo>
                <a:lnTo>
                  <a:pt x="1" y="34488"/>
                </a:lnTo>
                <a:cubicBezTo>
                  <a:pt x="19002" y="34488"/>
                  <a:pt x="34488" y="19002"/>
                  <a:pt x="34488" y="0"/>
                </a:cubicBezTo>
                <a:close/>
              </a:path>
            </a:pathLst>
          </a:custGeom>
          <a:solidFill>
            <a:srgbClr val="C4C4C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" name="Google Shape;2770;p31">
            <a:extLst>
              <a:ext uri="{FF2B5EF4-FFF2-40B4-BE49-F238E27FC236}">
                <a16:creationId xmlns:a16="http://schemas.microsoft.com/office/drawing/2014/main" id="{46C8C282-CBC7-BC4C-8449-344A08FAE924}"/>
              </a:ext>
            </a:extLst>
          </p:cNvPr>
          <p:cNvSpPr/>
          <p:nvPr/>
        </p:nvSpPr>
        <p:spPr>
          <a:xfrm>
            <a:off x="3667605" y="1343839"/>
            <a:ext cx="2664998" cy="1332004"/>
          </a:xfrm>
          <a:custGeom>
            <a:avLst/>
            <a:gdLst/>
            <a:ahLst/>
            <a:cxnLst/>
            <a:rect l="l" t="t" r="r" b="b"/>
            <a:pathLst>
              <a:path w="83575" h="41772" extrusionOk="0">
                <a:moveTo>
                  <a:pt x="41772" y="0"/>
                </a:moveTo>
                <a:cubicBezTo>
                  <a:pt x="18748" y="0"/>
                  <a:pt x="0" y="18748"/>
                  <a:pt x="0" y="41771"/>
                </a:cubicBezTo>
                <a:lnTo>
                  <a:pt x="222" y="41771"/>
                </a:lnTo>
                <a:cubicBezTo>
                  <a:pt x="222" y="18875"/>
                  <a:pt x="18875" y="222"/>
                  <a:pt x="41772" y="222"/>
                </a:cubicBezTo>
                <a:cubicBezTo>
                  <a:pt x="64669" y="222"/>
                  <a:pt x="83322" y="18875"/>
                  <a:pt x="83322" y="41771"/>
                </a:cubicBezTo>
                <a:lnTo>
                  <a:pt x="83575" y="41771"/>
                </a:lnTo>
                <a:cubicBezTo>
                  <a:pt x="83575" y="18748"/>
                  <a:pt x="64827" y="0"/>
                  <a:pt x="41772" y="0"/>
                </a:cubicBezTo>
                <a:close/>
              </a:path>
            </a:pathLst>
          </a:custGeom>
          <a:solidFill>
            <a:srgbClr val="C4C4C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" name="Google Shape;2771;p31">
            <a:extLst>
              <a:ext uri="{FF2B5EF4-FFF2-40B4-BE49-F238E27FC236}">
                <a16:creationId xmlns:a16="http://schemas.microsoft.com/office/drawing/2014/main" id="{0536BB2A-CB2B-596A-85E1-372A8D16735C}"/>
              </a:ext>
            </a:extLst>
          </p:cNvPr>
          <p:cNvSpPr/>
          <p:nvPr/>
        </p:nvSpPr>
        <p:spPr>
          <a:xfrm>
            <a:off x="3647388" y="2675812"/>
            <a:ext cx="1352221" cy="1352189"/>
          </a:xfrm>
          <a:custGeom>
            <a:avLst/>
            <a:gdLst/>
            <a:ahLst/>
            <a:cxnLst/>
            <a:rect l="l" t="t" r="r" b="b"/>
            <a:pathLst>
              <a:path w="42406" h="42405" extrusionOk="0">
                <a:moveTo>
                  <a:pt x="1" y="0"/>
                </a:moveTo>
                <a:cubicBezTo>
                  <a:pt x="1" y="23372"/>
                  <a:pt x="19034" y="42405"/>
                  <a:pt x="42406" y="42405"/>
                </a:cubicBezTo>
                <a:lnTo>
                  <a:pt x="42406" y="40948"/>
                </a:lnTo>
                <a:cubicBezTo>
                  <a:pt x="19826" y="40948"/>
                  <a:pt x="1489" y="22580"/>
                  <a:pt x="1489" y="0"/>
                </a:cubicBezTo>
                <a:close/>
              </a:path>
            </a:pathLst>
          </a:custGeom>
          <a:solidFill>
            <a:srgbClr val="30475E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" name="Google Shape;2772;p31">
            <a:extLst>
              <a:ext uri="{FF2B5EF4-FFF2-40B4-BE49-F238E27FC236}">
                <a16:creationId xmlns:a16="http://schemas.microsoft.com/office/drawing/2014/main" id="{CDE5AA6B-C562-BD08-10B5-B36F41EC989E}"/>
              </a:ext>
            </a:extLst>
          </p:cNvPr>
          <p:cNvSpPr/>
          <p:nvPr/>
        </p:nvSpPr>
        <p:spPr>
          <a:xfrm>
            <a:off x="4999577" y="2675812"/>
            <a:ext cx="1352221" cy="1352189"/>
          </a:xfrm>
          <a:custGeom>
            <a:avLst/>
            <a:gdLst/>
            <a:ahLst/>
            <a:cxnLst/>
            <a:rect l="l" t="t" r="r" b="b"/>
            <a:pathLst>
              <a:path w="42406" h="42405" extrusionOk="0">
                <a:moveTo>
                  <a:pt x="40949" y="0"/>
                </a:moveTo>
                <a:cubicBezTo>
                  <a:pt x="40949" y="22580"/>
                  <a:pt x="22581" y="40948"/>
                  <a:pt x="1" y="40948"/>
                </a:cubicBezTo>
                <a:lnTo>
                  <a:pt x="1" y="42405"/>
                </a:lnTo>
                <a:cubicBezTo>
                  <a:pt x="23373" y="42405"/>
                  <a:pt x="42406" y="23372"/>
                  <a:pt x="42406" y="0"/>
                </a:cubicBezTo>
                <a:close/>
              </a:path>
            </a:pathLst>
          </a:custGeom>
          <a:solidFill>
            <a:srgbClr val="22283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1" name="Google Shape;2773;p31">
            <a:extLst>
              <a:ext uri="{FF2B5EF4-FFF2-40B4-BE49-F238E27FC236}">
                <a16:creationId xmlns:a16="http://schemas.microsoft.com/office/drawing/2014/main" id="{2D9CE0E2-E583-6BB6-10ED-0E88BEAAE384}"/>
              </a:ext>
            </a:extLst>
          </p:cNvPr>
          <p:cNvSpPr/>
          <p:nvPr/>
        </p:nvSpPr>
        <p:spPr>
          <a:xfrm>
            <a:off x="3850384" y="2675812"/>
            <a:ext cx="110108" cy="79814"/>
          </a:xfrm>
          <a:custGeom>
            <a:avLst/>
            <a:gdLst/>
            <a:ahLst/>
            <a:cxnLst/>
            <a:rect l="l" t="t" r="r" b="b"/>
            <a:pathLst>
              <a:path w="3453" h="2503" extrusionOk="0">
                <a:moveTo>
                  <a:pt x="1742" y="0"/>
                </a:moveTo>
                <a:lnTo>
                  <a:pt x="855" y="1267"/>
                </a:lnTo>
                <a:lnTo>
                  <a:pt x="0" y="2502"/>
                </a:lnTo>
                <a:lnTo>
                  <a:pt x="3452" y="2502"/>
                </a:lnTo>
                <a:lnTo>
                  <a:pt x="2597" y="1267"/>
                </a:lnTo>
                <a:lnTo>
                  <a:pt x="1742" y="0"/>
                </a:lnTo>
                <a:close/>
              </a:path>
            </a:pathLst>
          </a:custGeom>
          <a:solidFill>
            <a:srgbClr val="C4C4C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" name="Google Shape;2774;p31">
            <a:extLst>
              <a:ext uri="{FF2B5EF4-FFF2-40B4-BE49-F238E27FC236}">
                <a16:creationId xmlns:a16="http://schemas.microsoft.com/office/drawing/2014/main" id="{27318846-E3BE-AF7E-6A08-CEA8B4BDA847}"/>
              </a:ext>
            </a:extLst>
          </p:cNvPr>
          <p:cNvSpPr/>
          <p:nvPr/>
        </p:nvSpPr>
        <p:spPr>
          <a:xfrm>
            <a:off x="5004648" y="3712921"/>
            <a:ext cx="78794" cy="111096"/>
          </a:xfrm>
          <a:custGeom>
            <a:avLst/>
            <a:gdLst/>
            <a:ahLst/>
            <a:cxnLst/>
            <a:rect l="l" t="t" r="r" b="b"/>
            <a:pathLst>
              <a:path w="2471" h="3484" extrusionOk="0">
                <a:moveTo>
                  <a:pt x="2470" y="0"/>
                </a:moveTo>
                <a:lnTo>
                  <a:pt x="1235" y="887"/>
                </a:lnTo>
                <a:lnTo>
                  <a:pt x="0" y="1742"/>
                </a:lnTo>
                <a:lnTo>
                  <a:pt x="1235" y="2597"/>
                </a:lnTo>
                <a:lnTo>
                  <a:pt x="2470" y="3484"/>
                </a:lnTo>
                <a:lnTo>
                  <a:pt x="2470" y="1742"/>
                </a:lnTo>
                <a:lnTo>
                  <a:pt x="2470" y="0"/>
                </a:lnTo>
                <a:close/>
              </a:path>
            </a:pathLst>
          </a:custGeom>
          <a:solidFill>
            <a:srgbClr val="C4C4C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" name="Google Shape;2809;p31">
            <a:extLst>
              <a:ext uri="{FF2B5EF4-FFF2-40B4-BE49-F238E27FC236}">
                <a16:creationId xmlns:a16="http://schemas.microsoft.com/office/drawing/2014/main" id="{4EF590E6-CF20-6D00-486D-1ED32AA0A2CE}"/>
              </a:ext>
            </a:extLst>
          </p:cNvPr>
          <p:cNvSpPr/>
          <p:nvPr/>
        </p:nvSpPr>
        <p:spPr>
          <a:xfrm>
            <a:off x="6268955" y="2630372"/>
            <a:ext cx="109119" cy="110108"/>
          </a:xfrm>
          <a:custGeom>
            <a:avLst/>
            <a:gdLst/>
            <a:ahLst/>
            <a:cxnLst/>
            <a:rect l="l" t="t" r="r" b="b"/>
            <a:pathLst>
              <a:path w="3422" h="3453" extrusionOk="0">
                <a:moveTo>
                  <a:pt x="1711" y="0"/>
                </a:moveTo>
                <a:cubicBezTo>
                  <a:pt x="761" y="0"/>
                  <a:pt x="1" y="792"/>
                  <a:pt x="1" y="1742"/>
                </a:cubicBezTo>
                <a:cubicBezTo>
                  <a:pt x="1" y="2692"/>
                  <a:pt x="761" y="3452"/>
                  <a:pt x="1711" y="3452"/>
                </a:cubicBezTo>
                <a:cubicBezTo>
                  <a:pt x="2661" y="3452"/>
                  <a:pt x="3421" y="2692"/>
                  <a:pt x="3421" y="1742"/>
                </a:cubicBezTo>
                <a:cubicBezTo>
                  <a:pt x="3421" y="792"/>
                  <a:pt x="2661" y="0"/>
                  <a:pt x="1711" y="0"/>
                </a:cubicBezTo>
                <a:close/>
              </a:path>
            </a:pathLst>
          </a:custGeom>
          <a:solidFill>
            <a:srgbClr val="C4C4C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" name="Google Shape;2822;p31">
            <a:extLst>
              <a:ext uri="{FF2B5EF4-FFF2-40B4-BE49-F238E27FC236}">
                <a16:creationId xmlns:a16="http://schemas.microsoft.com/office/drawing/2014/main" id="{BA30E19D-96DF-6C87-46BA-55656B31C91D}"/>
              </a:ext>
            </a:extLst>
          </p:cNvPr>
          <p:cNvSpPr txBox="1"/>
          <p:nvPr/>
        </p:nvSpPr>
        <p:spPr>
          <a:xfrm>
            <a:off x="-787189" y="426912"/>
            <a:ext cx="7723500" cy="40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latin typeface="Fira Sans Medium"/>
                <a:ea typeface="Fira Sans Medium"/>
                <a:cs typeface="Fira Sans Medium"/>
                <a:sym typeface="Fira Sans Medium"/>
              </a:rPr>
              <a:t>Functional Blocks AI Solution</a:t>
            </a:r>
            <a:endParaRPr sz="2800" dirty="0">
              <a:latin typeface="Fira Sans Medium"/>
              <a:ea typeface="Fira Sans Medium"/>
              <a:cs typeface="Fira Sans Medium"/>
              <a:sym typeface="Fira Sans Medium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CF29E7A-BC2D-0CF4-E6C1-434F4C0B8A96}"/>
              </a:ext>
            </a:extLst>
          </p:cNvPr>
          <p:cNvSpPr txBox="1"/>
          <p:nvPr/>
        </p:nvSpPr>
        <p:spPr>
          <a:xfrm>
            <a:off x="4311830" y="2479895"/>
            <a:ext cx="137890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err="1">
                <a:latin typeface="Fira Sans Medium"/>
              </a:rPr>
              <a:t>Orchestrator</a:t>
            </a:r>
            <a:endParaRPr lang="de-AT" sz="1600" dirty="0">
              <a:latin typeface="Fira Sans Medium"/>
            </a:endParaRP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1FC308D8-AA08-0384-BDC6-4FAA0822B923}"/>
              </a:ext>
            </a:extLst>
          </p:cNvPr>
          <p:cNvGrpSpPr/>
          <p:nvPr/>
        </p:nvGrpSpPr>
        <p:grpSpPr>
          <a:xfrm>
            <a:off x="3074562" y="2615807"/>
            <a:ext cx="533802" cy="122711"/>
            <a:chOff x="7333585" y="5380203"/>
            <a:chExt cx="820762" cy="122994"/>
          </a:xfrm>
        </p:grpSpPr>
        <p:sp>
          <p:nvSpPr>
            <p:cNvPr id="72" name="Google Shape;2749;p31">
              <a:extLst>
                <a:ext uri="{FF2B5EF4-FFF2-40B4-BE49-F238E27FC236}">
                  <a16:creationId xmlns:a16="http://schemas.microsoft.com/office/drawing/2014/main" id="{942E31EA-9500-F3BF-D775-C6B6F3283923}"/>
                </a:ext>
              </a:extLst>
            </p:cNvPr>
            <p:cNvSpPr/>
            <p:nvPr/>
          </p:nvSpPr>
          <p:spPr>
            <a:xfrm>
              <a:off x="7416342" y="5424551"/>
              <a:ext cx="656096" cy="45719"/>
            </a:xfrm>
            <a:custGeom>
              <a:avLst/>
              <a:gdLst/>
              <a:ahLst/>
              <a:cxnLst/>
              <a:rect l="l" t="t" r="r" b="b"/>
              <a:pathLst>
                <a:path w="55643" h="318" extrusionOk="0">
                  <a:moveTo>
                    <a:pt x="0" y="1"/>
                  </a:moveTo>
                  <a:lnTo>
                    <a:pt x="0" y="317"/>
                  </a:lnTo>
                  <a:lnTo>
                    <a:pt x="55643" y="317"/>
                  </a:lnTo>
                  <a:lnTo>
                    <a:pt x="55643" y="1"/>
                  </a:ln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" name="Google Shape;2775;p31">
              <a:extLst>
                <a:ext uri="{FF2B5EF4-FFF2-40B4-BE49-F238E27FC236}">
                  <a16:creationId xmlns:a16="http://schemas.microsoft.com/office/drawing/2014/main" id="{6FA5A847-F576-5C25-80E4-290BDD9F2C0B}"/>
                </a:ext>
              </a:extLst>
            </p:cNvPr>
            <p:cNvSpPr/>
            <p:nvPr/>
          </p:nvSpPr>
          <p:spPr>
            <a:xfrm>
              <a:off x="8069494" y="5380203"/>
              <a:ext cx="84853" cy="118175"/>
            </a:xfrm>
            <a:custGeom>
              <a:avLst/>
              <a:gdLst/>
              <a:ahLst/>
              <a:cxnLst/>
              <a:rect l="l" t="t" r="r" b="b"/>
              <a:pathLst>
                <a:path w="2661" h="3706" extrusionOk="0">
                  <a:moveTo>
                    <a:pt x="0" y="1"/>
                  </a:moveTo>
                  <a:lnTo>
                    <a:pt x="0" y="1869"/>
                  </a:lnTo>
                  <a:lnTo>
                    <a:pt x="0" y="3706"/>
                  </a:lnTo>
                  <a:lnTo>
                    <a:pt x="1330" y="2787"/>
                  </a:lnTo>
                  <a:lnTo>
                    <a:pt x="2660" y="1869"/>
                  </a:lnTo>
                  <a:lnTo>
                    <a:pt x="1330" y="91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" name="Google Shape;2775;p31">
              <a:extLst>
                <a:ext uri="{FF2B5EF4-FFF2-40B4-BE49-F238E27FC236}">
                  <a16:creationId xmlns:a16="http://schemas.microsoft.com/office/drawing/2014/main" id="{68168E6F-1646-B836-BD64-9C2311294EAF}"/>
                </a:ext>
              </a:extLst>
            </p:cNvPr>
            <p:cNvSpPr/>
            <p:nvPr/>
          </p:nvSpPr>
          <p:spPr>
            <a:xfrm rot="10800000">
              <a:off x="7333585" y="5385022"/>
              <a:ext cx="84853" cy="118175"/>
            </a:xfrm>
            <a:custGeom>
              <a:avLst/>
              <a:gdLst/>
              <a:ahLst/>
              <a:cxnLst/>
              <a:rect l="l" t="t" r="r" b="b"/>
              <a:pathLst>
                <a:path w="2661" h="3706" extrusionOk="0">
                  <a:moveTo>
                    <a:pt x="0" y="1"/>
                  </a:moveTo>
                  <a:lnTo>
                    <a:pt x="0" y="1869"/>
                  </a:lnTo>
                  <a:lnTo>
                    <a:pt x="0" y="3706"/>
                  </a:lnTo>
                  <a:lnTo>
                    <a:pt x="1330" y="2787"/>
                  </a:lnTo>
                  <a:lnTo>
                    <a:pt x="2660" y="1869"/>
                  </a:lnTo>
                  <a:lnTo>
                    <a:pt x="1330" y="91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77" name="Google Shape;2760;p31">
            <a:extLst>
              <a:ext uri="{FF2B5EF4-FFF2-40B4-BE49-F238E27FC236}">
                <a16:creationId xmlns:a16="http://schemas.microsoft.com/office/drawing/2014/main" id="{1BF4B8C6-8A5B-545D-3A63-60F746735A8B}"/>
              </a:ext>
            </a:extLst>
          </p:cNvPr>
          <p:cNvSpPr/>
          <p:nvPr/>
        </p:nvSpPr>
        <p:spPr>
          <a:xfrm>
            <a:off x="2897246" y="2543777"/>
            <a:ext cx="110108" cy="79814"/>
          </a:xfrm>
          <a:custGeom>
            <a:avLst/>
            <a:gdLst/>
            <a:ahLst/>
            <a:cxnLst/>
            <a:rect l="l" t="t" r="r" b="b"/>
            <a:pathLst>
              <a:path w="3453" h="2503" extrusionOk="0">
                <a:moveTo>
                  <a:pt x="0" y="0"/>
                </a:moveTo>
                <a:lnTo>
                  <a:pt x="855" y="1267"/>
                </a:lnTo>
                <a:lnTo>
                  <a:pt x="1710" y="2502"/>
                </a:lnTo>
                <a:lnTo>
                  <a:pt x="2597" y="1267"/>
                </a:lnTo>
                <a:lnTo>
                  <a:pt x="3452" y="0"/>
                </a:lnTo>
                <a:close/>
              </a:path>
            </a:pathLst>
          </a:custGeom>
          <a:solidFill>
            <a:srgbClr val="C4C4C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8" name="Google Shape;2761;p31">
            <a:extLst>
              <a:ext uri="{FF2B5EF4-FFF2-40B4-BE49-F238E27FC236}">
                <a16:creationId xmlns:a16="http://schemas.microsoft.com/office/drawing/2014/main" id="{16AF2FBC-5AEB-3294-95FA-1A55F6449E85}"/>
              </a:ext>
            </a:extLst>
          </p:cNvPr>
          <p:cNvSpPr/>
          <p:nvPr/>
        </p:nvSpPr>
        <p:spPr>
          <a:xfrm>
            <a:off x="2501363" y="2672029"/>
            <a:ext cx="476686" cy="8099"/>
          </a:xfrm>
          <a:custGeom>
            <a:avLst/>
            <a:gdLst/>
            <a:ahLst/>
            <a:cxnLst/>
            <a:rect l="l" t="t" r="r" b="b"/>
            <a:pathLst>
              <a:path w="14949" h="254" extrusionOk="0">
                <a:moveTo>
                  <a:pt x="1" y="0"/>
                </a:moveTo>
                <a:lnTo>
                  <a:pt x="1" y="254"/>
                </a:lnTo>
                <a:lnTo>
                  <a:pt x="14949" y="254"/>
                </a:lnTo>
                <a:lnTo>
                  <a:pt x="14949" y="0"/>
                </a:lnTo>
                <a:close/>
              </a:path>
            </a:pathLst>
          </a:custGeom>
          <a:solidFill>
            <a:srgbClr val="C4C4C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9" name="Google Shape;2762;p31">
            <a:extLst>
              <a:ext uri="{FF2B5EF4-FFF2-40B4-BE49-F238E27FC236}">
                <a16:creationId xmlns:a16="http://schemas.microsoft.com/office/drawing/2014/main" id="{5B12BAC4-B46A-1174-4594-B0A1AB7FB475}"/>
              </a:ext>
            </a:extLst>
          </p:cNvPr>
          <p:cNvSpPr/>
          <p:nvPr/>
        </p:nvSpPr>
        <p:spPr>
          <a:xfrm>
            <a:off x="1621810" y="3538476"/>
            <a:ext cx="8099" cy="476654"/>
          </a:xfrm>
          <a:custGeom>
            <a:avLst/>
            <a:gdLst/>
            <a:ahLst/>
            <a:cxnLst/>
            <a:rect l="l" t="t" r="r" b="b"/>
            <a:pathLst>
              <a:path w="254" h="14948" extrusionOk="0">
                <a:moveTo>
                  <a:pt x="0" y="0"/>
                </a:moveTo>
                <a:lnTo>
                  <a:pt x="0" y="14948"/>
                </a:lnTo>
                <a:lnTo>
                  <a:pt x="253" y="14948"/>
                </a:lnTo>
                <a:lnTo>
                  <a:pt x="253" y="0"/>
                </a:lnTo>
                <a:close/>
              </a:path>
            </a:pathLst>
          </a:custGeom>
          <a:solidFill>
            <a:srgbClr val="C4C4C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0" name="Google Shape;2763;p31">
            <a:extLst>
              <a:ext uri="{FF2B5EF4-FFF2-40B4-BE49-F238E27FC236}">
                <a16:creationId xmlns:a16="http://schemas.microsoft.com/office/drawing/2014/main" id="{B18C10D3-6D25-D742-CF08-8551E7E8BAE6}"/>
              </a:ext>
            </a:extLst>
          </p:cNvPr>
          <p:cNvSpPr/>
          <p:nvPr/>
        </p:nvSpPr>
        <p:spPr>
          <a:xfrm>
            <a:off x="279697" y="2672029"/>
            <a:ext cx="476686" cy="8099"/>
          </a:xfrm>
          <a:custGeom>
            <a:avLst/>
            <a:gdLst/>
            <a:ahLst/>
            <a:cxnLst/>
            <a:rect l="l" t="t" r="r" b="b"/>
            <a:pathLst>
              <a:path w="14949" h="254" extrusionOk="0">
                <a:moveTo>
                  <a:pt x="1" y="0"/>
                </a:moveTo>
                <a:lnTo>
                  <a:pt x="1" y="254"/>
                </a:lnTo>
                <a:lnTo>
                  <a:pt x="14949" y="254"/>
                </a:lnTo>
                <a:lnTo>
                  <a:pt x="14949" y="0"/>
                </a:lnTo>
                <a:close/>
              </a:path>
            </a:pathLst>
          </a:custGeom>
          <a:solidFill>
            <a:srgbClr val="969797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1" name="Google Shape;2764;p31">
            <a:extLst>
              <a:ext uri="{FF2B5EF4-FFF2-40B4-BE49-F238E27FC236}">
                <a16:creationId xmlns:a16="http://schemas.microsoft.com/office/drawing/2014/main" id="{C8B0E572-2A96-127B-B9EF-A4F541D80F43}"/>
              </a:ext>
            </a:extLst>
          </p:cNvPr>
          <p:cNvSpPr/>
          <p:nvPr/>
        </p:nvSpPr>
        <p:spPr>
          <a:xfrm>
            <a:off x="1625827" y="2671008"/>
            <a:ext cx="877608" cy="877576"/>
          </a:xfrm>
          <a:custGeom>
            <a:avLst/>
            <a:gdLst/>
            <a:ahLst/>
            <a:cxnLst/>
            <a:rect l="l" t="t" r="r" b="b"/>
            <a:pathLst>
              <a:path w="27522" h="27521" extrusionOk="0">
                <a:moveTo>
                  <a:pt x="23056" y="1"/>
                </a:moveTo>
                <a:lnTo>
                  <a:pt x="23056" y="32"/>
                </a:lnTo>
                <a:cubicBezTo>
                  <a:pt x="23056" y="12763"/>
                  <a:pt x="12732" y="23087"/>
                  <a:pt x="1" y="23087"/>
                </a:cubicBezTo>
                <a:lnTo>
                  <a:pt x="1" y="27521"/>
                </a:lnTo>
                <a:cubicBezTo>
                  <a:pt x="15202" y="27521"/>
                  <a:pt x="27521" y="15202"/>
                  <a:pt x="27521" y="1"/>
                </a:cubicBezTo>
                <a:close/>
              </a:path>
            </a:pathLst>
          </a:custGeom>
          <a:solidFill>
            <a:srgbClr val="22283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2" name="Google Shape;2765;p31">
            <a:extLst>
              <a:ext uri="{FF2B5EF4-FFF2-40B4-BE49-F238E27FC236}">
                <a16:creationId xmlns:a16="http://schemas.microsoft.com/office/drawing/2014/main" id="{13D85D48-C55A-E8A1-3DBF-770B9C8673F9}"/>
              </a:ext>
            </a:extLst>
          </p:cNvPr>
          <p:cNvSpPr/>
          <p:nvPr/>
        </p:nvSpPr>
        <p:spPr>
          <a:xfrm>
            <a:off x="748283" y="2671008"/>
            <a:ext cx="877576" cy="877576"/>
          </a:xfrm>
          <a:custGeom>
            <a:avLst/>
            <a:gdLst/>
            <a:ahLst/>
            <a:cxnLst/>
            <a:rect l="l" t="t" r="r" b="b"/>
            <a:pathLst>
              <a:path w="27521" h="27521" extrusionOk="0">
                <a:moveTo>
                  <a:pt x="0" y="1"/>
                </a:moveTo>
                <a:cubicBezTo>
                  <a:pt x="0" y="15202"/>
                  <a:pt x="12320" y="27521"/>
                  <a:pt x="27521" y="27521"/>
                </a:cubicBezTo>
                <a:lnTo>
                  <a:pt x="27521" y="23087"/>
                </a:lnTo>
                <a:cubicBezTo>
                  <a:pt x="14790" y="23087"/>
                  <a:pt x="4466" y="12763"/>
                  <a:pt x="4466" y="32"/>
                </a:cubicBezTo>
                <a:lnTo>
                  <a:pt x="4466" y="1"/>
                </a:lnTo>
                <a:close/>
              </a:path>
            </a:pathLst>
          </a:custGeom>
          <a:solidFill>
            <a:srgbClr val="30475E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3" name="Google Shape;2766;p31">
            <a:extLst>
              <a:ext uri="{FF2B5EF4-FFF2-40B4-BE49-F238E27FC236}">
                <a16:creationId xmlns:a16="http://schemas.microsoft.com/office/drawing/2014/main" id="{AC6CDDF1-10F9-7C1C-1677-D4730C95A3A8}"/>
              </a:ext>
            </a:extLst>
          </p:cNvPr>
          <p:cNvSpPr/>
          <p:nvPr/>
        </p:nvSpPr>
        <p:spPr>
          <a:xfrm>
            <a:off x="748283" y="1795474"/>
            <a:ext cx="1755152" cy="877576"/>
          </a:xfrm>
          <a:custGeom>
            <a:avLst/>
            <a:gdLst/>
            <a:ahLst/>
            <a:cxnLst/>
            <a:rect l="l" t="t" r="r" b="b"/>
            <a:pathLst>
              <a:path w="55042" h="27521" extrusionOk="0">
                <a:moveTo>
                  <a:pt x="27521" y="1"/>
                </a:moveTo>
                <a:cubicBezTo>
                  <a:pt x="12320" y="1"/>
                  <a:pt x="0" y="12320"/>
                  <a:pt x="0" y="27521"/>
                </a:cubicBezTo>
                <a:lnTo>
                  <a:pt x="4466" y="27521"/>
                </a:lnTo>
                <a:lnTo>
                  <a:pt x="4466" y="27489"/>
                </a:lnTo>
                <a:cubicBezTo>
                  <a:pt x="4466" y="14758"/>
                  <a:pt x="14790" y="4434"/>
                  <a:pt x="27521" y="4434"/>
                </a:cubicBezTo>
                <a:cubicBezTo>
                  <a:pt x="40252" y="4434"/>
                  <a:pt x="50576" y="14758"/>
                  <a:pt x="50576" y="27489"/>
                </a:cubicBezTo>
                <a:lnTo>
                  <a:pt x="50576" y="27521"/>
                </a:lnTo>
                <a:lnTo>
                  <a:pt x="55041" y="27521"/>
                </a:lnTo>
                <a:cubicBezTo>
                  <a:pt x="55041" y="12320"/>
                  <a:pt x="42722" y="1"/>
                  <a:pt x="27521" y="1"/>
                </a:cubicBezTo>
                <a:close/>
              </a:path>
            </a:pathLst>
          </a:custGeom>
          <a:solidFill>
            <a:srgbClr val="F2A365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4" name="Google Shape;2767;p31">
            <a:extLst>
              <a:ext uri="{FF2B5EF4-FFF2-40B4-BE49-F238E27FC236}">
                <a16:creationId xmlns:a16="http://schemas.microsoft.com/office/drawing/2014/main" id="{41990645-A3EC-9AD2-91D7-7F586E765995}"/>
              </a:ext>
            </a:extLst>
          </p:cNvPr>
          <p:cNvSpPr/>
          <p:nvPr/>
        </p:nvSpPr>
        <p:spPr>
          <a:xfrm>
            <a:off x="506927" y="1553129"/>
            <a:ext cx="2237865" cy="1118932"/>
          </a:xfrm>
          <a:custGeom>
            <a:avLst/>
            <a:gdLst/>
            <a:ahLst/>
            <a:cxnLst/>
            <a:rect l="l" t="t" r="r" b="b"/>
            <a:pathLst>
              <a:path w="70180" h="35090" extrusionOk="0">
                <a:moveTo>
                  <a:pt x="35090" y="0"/>
                </a:moveTo>
                <a:cubicBezTo>
                  <a:pt x="15740" y="0"/>
                  <a:pt x="0" y="15740"/>
                  <a:pt x="0" y="35089"/>
                </a:cubicBezTo>
                <a:lnTo>
                  <a:pt x="1457" y="35089"/>
                </a:lnTo>
                <a:cubicBezTo>
                  <a:pt x="1457" y="16563"/>
                  <a:pt x="16563" y="1457"/>
                  <a:pt x="35090" y="1457"/>
                </a:cubicBezTo>
                <a:cubicBezTo>
                  <a:pt x="53648" y="1457"/>
                  <a:pt x="68722" y="16563"/>
                  <a:pt x="68722" y="35089"/>
                </a:cubicBezTo>
                <a:lnTo>
                  <a:pt x="70179" y="35089"/>
                </a:lnTo>
                <a:cubicBezTo>
                  <a:pt x="70179" y="15740"/>
                  <a:pt x="54440" y="0"/>
                  <a:pt x="35090" y="0"/>
                </a:cubicBezTo>
                <a:close/>
              </a:path>
            </a:pathLst>
          </a:custGeom>
          <a:solidFill>
            <a:srgbClr val="F2A365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5" name="Google Shape;2768;p31">
            <a:extLst>
              <a:ext uri="{FF2B5EF4-FFF2-40B4-BE49-F238E27FC236}">
                <a16:creationId xmlns:a16="http://schemas.microsoft.com/office/drawing/2014/main" id="{31E29D9F-F113-19B4-2F3C-F8873C4B5C8A}"/>
              </a:ext>
            </a:extLst>
          </p:cNvPr>
          <p:cNvSpPr/>
          <p:nvPr/>
        </p:nvSpPr>
        <p:spPr>
          <a:xfrm>
            <a:off x="527112" y="2672029"/>
            <a:ext cx="1098748" cy="1099736"/>
          </a:xfrm>
          <a:custGeom>
            <a:avLst/>
            <a:gdLst/>
            <a:ahLst/>
            <a:cxnLst/>
            <a:rect l="l" t="t" r="r" b="b"/>
            <a:pathLst>
              <a:path w="34457" h="34488" extrusionOk="0">
                <a:moveTo>
                  <a:pt x="1" y="0"/>
                </a:moveTo>
                <a:cubicBezTo>
                  <a:pt x="1" y="19002"/>
                  <a:pt x="15455" y="34488"/>
                  <a:pt x="34457" y="34488"/>
                </a:cubicBezTo>
                <a:lnTo>
                  <a:pt x="34457" y="34234"/>
                </a:lnTo>
                <a:cubicBezTo>
                  <a:pt x="15582" y="34234"/>
                  <a:pt x="223" y="18875"/>
                  <a:pt x="223" y="0"/>
                </a:cubicBezTo>
                <a:close/>
              </a:path>
            </a:pathLst>
          </a:custGeom>
          <a:solidFill>
            <a:srgbClr val="C4C4C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" name="Google Shape;2769;p31">
            <a:extLst>
              <a:ext uri="{FF2B5EF4-FFF2-40B4-BE49-F238E27FC236}">
                <a16:creationId xmlns:a16="http://schemas.microsoft.com/office/drawing/2014/main" id="{604A58DB-642F-1B39-D8DD-BE7652D579F3}"/>
              </a:ext>
            </a:extLst>
          </p:cNvPr>
          <p:cNvSpPr/>
          <p:nvPr/>
        </p:nvSpPr>
        <p:spPr>
          <a:xfrm>
            <a:off x="1625827" y="2672029"/>
            <a:ext cx="1099768" cy="1099736"/>
          </a:xfrm>
          <a:custGeom>
            <a:avLst/>
            <a:gdLst/>
            <a:ahLst/>
            <a:cxnLst/>
            <a:rect l="l" t="t" r="r" b="b"/>
            <a:pathLst>
              <a:path w="34489" h="34488" extrusionOk="0">
                <a:moveTo>
                  <a:pt x="34235" y="0"/>
                </a:moveTo>
                <a:cubicBezTo>
                  <a:pt x="34235" y="18875"/>
                  <a:pt x="18876" y="34234"/>
                  <a:pt x="1" y="34234"/>
                </a:cubicBezTo>
                <a:lnTo>
                  <a:pt x="1" y="34488"/>
                </a:lnTo>
                <a:cubicBezTo>
                  <a:pt x="19002" y="34488"/>
                  <a:pt x="34488" y="19002"/>
                  <a:pt x="34488" y="0"/>
                </a:cubicBezTo>
                <a:close/>
              </a:path>
            </a:pathLst>
          </a:custGeom>
          <a:solidFill>
            <a:srgbClr val="C4C4C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7" name="Google Shape;2770;p31">
            <a:extLst>
              <a:ext uri="{FF2B5EF4-FFF2-40B4-BE49-F238E27FC236}">
                <a16:creationId xmlns:a16="http://schemas.microsoft.com/office/drawing/2014/main" id="{C6F5FEB1-3EE7-C785-B272-808C8585C43C}"/>
              </a:ext>
            </a:extLst>
          </p:cNvPr>
          <p:cNvSpPr/>
          <p:nvPr/>
        </p:nvSpPr>
        <p:spPr>
          <a:xfrm>
            <a:off x="293855" y="1340056"/>
            <a:ext cx="2664998" cy="1332004"/>
          </a:xfrm>
          <a:custGeom>
            <a:avLst/>
            <a:gdLst/>
            <a:ahLst/>
            <a:cxnLst/>
            <a:rect l="l" t="t" r="r" b="b"/>
            <a:pathLst>
              <a:path w="83575" h="41772" extrusionOk="0">
                <a:moveTo>
                  <a:pt x="41772" y="0"/>
                </a:moveTo>
                <a:cubicBezTo>
                  <a:pt x="18748" y="0"/>
                  <a:pt x="0" y="18748"/>
                  <a:pt x="0" y="41771"/>
                </a:cubicBezTo>
                <a:lnTo>
                  <a:pt x="222" y="41771"/>
                </a:lnTo>
                <a:cubicBezTo>
                  <a:pt x="222" y="18875"/>
                  <a:pt x="18875" y="222"/>
                  <a:pt x="41772" y="222"/>
                </a:cubicBezTo>
                <a:cubicBezTo>
                  <a:pt x="64669" y="222"/>
                  <a:pt x="83322" y="18875"/>
                  <a:pt x="83322" y="41771"/>
                </a:cubicBezTo>
                <a:lnTo>
                  <a:pt x="83575" y="41771"/>
                </a:lnTo>
                <a:cubicBezTo>
                  <a:pt x="83575" y="18748"/>
                  <a:pt x="64827" y="0"/>
                  <a:pt x="41772" y="0"/>
                </a:cubicBezTo>
                <a:close/>
              </a:path>
            </a:pathLst>
          </a:custGeom>
          <a:solidFill>
            <a:srgbClr val="C4C4C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8" name="Google Shape;2771;p31">
            <a:extLst>
              <a:ext uri="{FF2B5EF4-FFF2-40B4-BE49-F238E27FC236}">
                <a16:creationId xmlns:a16="http://schemas.microsoft.com/office/drawing/2014/main" id="{2E9B39F8-2B2B-4646-E8A8-AD7FF7055D13}"/>
              </a:ext>
            </a:extLst>
          </p:cNvPr>
          <p:cNvSpPr/>
          <p:nvPr/>
        </p:nvSpPr>
        <p:spPr>
          <a:xfrm>
            <a:off x="273638" y="2672029"/>
            <a:ext cx="1352221" cy="1352189"/>
          </a:xfrm>
          <a:custGeom>
            <a:avLst/>
            <a:gdLst/>
            <a:ahLst/>
            <a:cxnLst/>
            <a:rect l="l" t="t" r="r" b="b"/>
            <a:pathLst>
              <a:path w="42406" h="42405" extrusionOk="0">
                <a:moveTo>
                  <a:pt x="1" y="0"/>
                </a:moveTo>
                <a:cubicBezTo>
                  <a:pt x="1" y="23372"/>
                  <a:pt x="19034" y="42405"/>
                  <a:pt x="42406" y="42405"/>
                </a:cubicBezTo>
                <a:lnTo>
                  <a:pt x="42406" y="40948"/>
                </a:lnTo>
                <a:cubicBezTo>
                  <a:pt x="19826" y="40948"/>
                  <a:pt x="1489" y="22580"/>
                  <a:pt x="1489" y="0"/>
                </a:cubicBezTo>
                <a:close/>
              </a:path>
            </a:pathLst>
          </a:custGeom>
          <a:solidFill>
            <a:srgbClr val="30475E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9" name="Google Shape;2772;p31">
            <a:extLst>
              <a:ext uri="{FF2B5EF4-FFF2-40B4-BE49-F238E27FC236}">
                <a16:creationId xmlns:a16="http://schemas.microsoft.com/office/drawing/2014/main" id="{A2FF249F-21C5-C2A6-EB5D-4E0BB305AD98}"/>
              </a:ext>
            </a:extLst>
          </p:cNvPr>
          <p:cNvSpPr/>
          <p:nvPr/>
        </p:nvSpPr>
        <p:spPr>
          <a:xfrm>
            <a:off x="1625827" y="2672029"/>
            <a:ext cx="1352221" cy="1352189"/>
          </a:xfrm>
          <a:custGeom>
            <a:avLst/>
            <a:gdLst/>
            <a:ahLst/>
            <a:cxnLst/>
            <a:rect l="l" t="t" r="r" b="b"/>
            <a:pathLst>
              <a:path w="42406" h="42405" extrusionOk="0">
                <a:moveTo>
                  <a:pt x="40949" y="0"/>
                </a:moveTo>
                <a:cubicBezTo>
                  <a:pt x="40949" y="22580"/>
                  <a:pt x="22581" y="40948"/>
                  <a:pt x="1" y="40948"/>
                </a:cubicBezTo>
                <a:lnTo>
                  <a:pt x="1" y="42405"/>
                </a:lnTo>
                <a:cubicBezTo>
                  <a:pt x="23373" y="42405"/>
                  <a:pt x="42406" y="23372"/>
                  <a:pt x="42406" y="0"/>
                </a:cubicBezTo>
                <a:close/>
              </a:path>
            </a:pathLst>
          </a:custGeom>
          <a:solidFill>
            <a:srgbClr val="22283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0" name="Google Shape;2773;p31">
            <a:extLst>
              <a:ext uri="{FF2B5EF4-FFF2-40B4-BE49-F238E27FC236}">
                <a16:creationId xmlns:a16="http://schemas.microsoft.com/office/drawing/2014/main" id="{D0AEB69A-D11D-27D8-2805-DC18FE26D10B}"/>
              </a:ext>
            </a:extLst>
          </p:cNvPr>
          <p:cNvSpPr/>
          <p:nvPr/>
        </p:nvSpPr>
        <p:spPr>
          <a:xfrm>
            <a:off x="476634" y="2672029"/>
            <a:ext cx="110108" cy="79814"/>
          </a:xfrm>
          <a:custGeom>
            <a:avLst/>
            <a:gdLst/>
            <a:ahLst/>
            <a:cxnLst/>
            <a:rect l="l" t="t" r="r" b="b"/>
            <a:pathLst>
              <a:path w="3453" h="2503" extrusionOk="0">
                <a:moveTo>
                  <a:pt x="1742" y="0"/>
                </a:moveTo>
                <a:lnTo>
                  <a:pt x="855" y="1267"/>
                </a:lnTo>
                <a:lnTo>
                  <a:pt x="0" y="2502"/>
                </a:lnTo>
                <a:lnTo>
                  <a:pt x="3452" y="2502"/>
                </a:lnTo>
                <a:lnTo>
                  <a:pt x="2597" y="1267"/>
                </a:lnTo>
                <a:lnTo>
                  <a:pt x="1742" y="0"/>
                </a:lnTo>
                <a:close/>
              </a:path>
            </a:pathLst>
          </a:custGeom>
          <a:solidFill>
            <a:srgbClr val="C4C4C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1" name="Google Shape;2774;p31">
            <a:extLst>
              <a:ext uri="{FF2B5EF4-FFF2-40B4-BE49-F238E27FC236}">
                <a16:creationId xmlns:a16="http://schemas.microsoft.com/office/drawing/2014/main" id="{C6BBA1B9-E6AE-7117-7972-9825705C5692}"/>
              </a:ext>
            </a:extLst>
          </p:cNvPr>
          <p:cNvSpPr/>
          <p:nvPr/>
        </p:nvSpPr>
        <p:spPr>
          <a:xfrm>
            <a:off x="1630898" y="3709138"/>
            <a:ext cx="78794" cy="111096"/>
          </a:xfrm>
          <a:custGeom>
            <a:avLst/>
            <a:gdLst/>
            <a:ahLst/>
            <a:cxnLst/>
            <a:rect l="l" t="t" r="r" b="b"/>
            <a:pathLst>
              <a:path w="2471" h="3484" extrusionOk="0">
                <a:moveTo>
                  <a:pt x="2470" y="0"/>
                </a:moveTo>
                <a:lnTo>
                  <a:pt x="1235" y="887"/>
                </a:lnTo>
                <a:lnTo>
                  <a:pt x="0" y="1742"/>
                </a:lnTo>
                <a:lnTo>
                  <a:pt x="1235" y="2597"/>
                </a:lnTo>
                <a:lnTo>
                  <a:pt x="2470" y="3484"/>
                </a:lnTo>
                <a:lnTo>
                  <a:pt x="2470" y="1742"/>
                </a:lnTo>
                <a:lnTo>
                  <a:pt x="2470" y="0"/>
                </a:lnTo>
                <a:close/>
              </a:path>
            </a:pathLst>
          </a:custGeom>
          <a:solidFill>
            <a:srgbClr val="C4C4C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2" name="Google Shape;2809;p31">
            <a:extLst>
              <a:ext uri="{FF2B5EF4-FFF2-40B4-BE49-F238E27FC236}">
                <a16:creationId xmlns:a16="http://schemas.microsoft.com/office/drawing/2014/main" id="{3855A3D2-4140-C771-5198-CB7AD5F3F562}"/>
              </a:ext>
            </a:extLst>
          </p:cNvPr>
          <p:cNvSpPr/>
          <p:nvPr/>
        </p:nvSpPr>
        <p:spPr>
          <a:xfrm>
            <a:off x="2895205" y="2626589"/>
            <a:ext cx="109119" cy="110108"/>
          </a:xfrm>
          <a:custGeom>
            <a:avLst/>
            <a:gdLst/>
            <a:ahLst/>
            <a:cxnLst/>
            <a:rect l="l" t="t" r="r" b="b"/>
            <a:pathLst>
              <a:path w="3422" h="3453" extrusionOk="0">
                <a:moveTo>
                  <a:pt x="1711" y="0"/>
                </a:moveTo>
                <a:cubicBezTo>
                  <a:pt x="761" y="0"/>
                  <a:pt x="1" y="792"/>
                  <a:pt x="1" y="1742"/>
                </a:cubicBezTo>
                <a:cubicBezTo>
                  <a:pt x="1" y="2692"/>
                  <a:pt x="761" y="3452"/>
                  <a:pt x="1711" y="3452"/>
                </a:cubicBezTo>
                <a:cubicBezTo>
                  <a:pt x="2661" y="3452"/>
                  <a:pt x="3421" y="2692"/>
                  <a:pt x="3421" y="1742"/>
                </a:cubicBezTo>
                <a:cubicBezTo>
                  <a:pt x="3421" y="792"/>
                  <a:pt x="2661" y="0"/>
                  <a:pt x="1711" y="0"/>
                </a:cubicBezTo>
                <a:close/>
              </a:path>
            </a:pathLst>
          </a:custGeom>
          <a:solidFill>
            <a:srgbClr val="C4C4C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E897ACD0-F4C1-84AA-E54F-D32ACC40F3C4}"/>
              </a:ext>
            </a:extLst>
          </p:cNvPr>
          <p:cNvSpPr txBox="1"/>
          <p:nvPr/>
        </p:nvSpPr>
        <p:spPr>
          <a:xfrm>
            <a:off x="966633" y="2517361"/>
            <a:ext cx="139814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>
                <a:latin typeface="Fira Sans Medium"/>
              </a:rPr>
              <a:t>Cloud Provider</a:t>
            </a:r>
            <a:endParaRPr lang="de-AT" sz="1400" dirty="0">
              <a:latin typeface="Fira Sans Medium"/>
            </a:endParaRPr>
          </a:p>
        </p:txBody>
      </p: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43FE87CA-968A-8554-FC65-C12D5A4D7DF4}"/>
              </a:ext>
            </a:extLst>
          </p:cNvPr>
          <p:cNvGrpSpPr/>
          <p:nvPr/>
        </p:nvGrpSpPr>
        <p:grpSpPr>
          <a:xfrm>
            <a:off x="6504292" y="239540"/>
            <a:ext cx="1540023" cy="1541294"/>
            <a:chOff x="6901092" y="418789"/>
            <a:chExt cx="1540023" cy="1541294"/>
          </a:xfrm>
        </p:grpSpPr>
        <p:sp>
          <p:nvSpPr>
            <p:cNvPr id="9" name="Google Shape;2747;p31">
              <a:extLst>
                <a:ext uri="{FF2B5EF4-FFF2-40B4-BE49-F238E27FC236}">
                  <a16:creationId xmlns:a16="http://schemas.microsoft.com/office/drawing/2014/main" id="{49F4BDC3-2853-D8F8-5544-BCC9E2FAF86E}"/>
                </a:ext>
              </a:extLst>
            </p:cNvPr>
            <p:cNvSpPr/>
            <p:nvPr/>
          </p:nvSpPr>
          <p:spPr>
            <a:xfrm>
              <a:off x="6901092" y="418789"/>
              <a:ext cx="1540023" cy="1541294"/>
            </a:xfrm>
            <a:custGeom>
              <a:avLst/>
              <a:gdLst/>
              <a:ahLst/>
              <a:cxnLst/>
              <a:rect l="l" t="t" r="r" b="b"/>
              <a:pathLst>
                <a:path w="38764" h="38796" extrusionOk="0">
                  <a:moveTo>
                    <a:pt x="19382" y="286"/>
                  </a:moveTo>
                  <a:cubicBezTo>
                    <a:pt x="29928" y="286"/>
                    <a:pt x="38510" y="8868"/>
                    <a:pt x="38510" y="19414"/>
                  </a:cubicBezTo>
                  <a:cubicBezTo>
                    <a:pt x="38510" y="29960"/>
                    <a:pt x="29928" y="38542"/>
                    <a:pt x="19382" y="38542"/>
                  </a:cubicBezTo>
                  <a:cubicBezTo>
                    <a:pt x="8805" y="38542"/>
                    <a:pt x="222" y="29960"/>
                    <a:pt x="222" y="19414"/>
                  </a:cubicBezTo>
                  <a:cubicBezTo>
                    <a:pt x="222" y="8868"/>
                    <a:pt x="8805" y="286"/>
                    <a:pt x="19382" y="286"/>
                  </a:cubicBezTo>
                  <a:close/>
                  <a:moveTo>
                    <a:pt x="19382" y="1"/>
                  </a:moveTo>
                  <a:cubicBezTo>
                    <a:pt x="8678" y="1"/>
                    <a:pt x="1" y="8710"/>
                    <a:pt x="1" y="19414"/>
                  </a:cubicBezTo>
                  <a:cubicBezTo>
                    <a:pt x="1" y="30086"/>
                    <a:pt x="8678" y="38795"/>
                    <a:pt x="19382" y="38795"/>
                  </a:cubicBezTo>
                  <a:cubicBezTo>
                    <a:pt x="30055" y="38795"/>
                    <a:pt x="38764" y="30086"/>
                    <a:pt x="38764" y="19414"/>
                  </a:cubicBezTo>
                  <a:cubicBezTo>
                    <a:pt x="38764" y="8710"/>
                    <a:pt x="30055" y="1"/>
                    <a:pt x="19382" y="1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" name="Google Shape;2748;p31">
              <a:extLst>
                <a:ext uri="{FF2B5EF4-FFF2-40B4-BE49-F238E27FC236}">
                  <a16:creationId xmlns:a16="http://schemas.microsoft.com/office/drawing/2014/main" id="{85E7ED85-FA00-1936-523E-FB93B16CFC97}"/>
                </a:ext>
              </a:extLst>
            </p:cNvPr>
            <p:cNvSpPr/>
            <p:nvPr/>
          </p:nvSpPr>
          <p:spPr>
            <a:xfrm>
              <a:off x="7053965" y="564715"/>
              <a:ext cx="1234275" cy="1234275"/>
            </a:xfrm>
            <a:custGeom>
              <a:avLst/>
              <a:gdLst/>
              <a:ahLst/>
              <a:cxnLst/>
              <a:rect l="l" t="t" r="r" b="b"/>
              <a:pathLst>
                <a:path w="31068" h="31068" extrusionOk="0">
                  <a:moveTo>
                    <a:pt x="15550" y="3769"/>
                  </a:moveTo>
                  <a:cubicBezTo>
                    <a:pt x="22042" y="3769"/>
                    <a:pt x="27331" y="9058"/>
                    <a:pt x="27331" y="15550"/>
                  </a:cubicBezTo>
                  <a:cubicBezTo>
                    <a:pt x="27331" y="22042"/>
                    <a:pt x="22042" y="27331"/>
                    <a:pt x="15550" y="27331"/>
                  </a:cubicBezTo>
                  <a:cubicBezTo>
                    <a:pt x="9026" y="27331"/>
                    <a:pt x="3738" y="22042"/>
                    <a:pt x="3738" y="15550"/>
                  </a:cubicBezTo>
                  <a:cubicBezTo>
                    <a:pt x="3738" y="9026"/>
                    <a:pt x="9026" y="3769"/>
                    <a:pt x="15550" y="3769"/>
                  </a:cubicBezTo>
                  <a:close/>
                  <a:moveTo>
                    <a:pt x="15550" y="1"/>
                  </a:moveTo>
                  <a:cubicBezTo>
                    <a:pt x="6968" y="1"/>
                    <a:pt x="1" y="6968"/>
                    <a:pt x="1" y="15550"/>
                  </a:cubicBezTo>
                  <a:cubicBezTo>
                    <a:pt x="1" y="24101"/>
                    <a:pt x="6968" y="31068"/>
                    <a:pt x="15550" y="31068"/>
                  </a:cubicBezTo>
                  <a:cubicBezTo>
                    <a:pt x="24101" y="31068"/>
                    <a:pt x="31068" y="24101"/>
                    <a:pt x="31068" y="15550"/>
                  </a:cubicBezTo>
                  <a:cubicBezTo>
                    <a:pt x="31068" y="6968"/>
                    <a:pt x="24101" y="1"/>
                    <a:pt x="15550" y="1"/>
                  </a:cubicBezTo>
                  <a:close/>
                </a:path>
              </a:pathLst>
            </a:custGeom>
            <a:solidFill>
              <a:srgbClr val="F2A36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1A97E5DB-D275-BE0C-6C90-E88F762AAACA}"/>
                </a:ext>
              </a:extLst>
            </p:cNvPr>
            <p:cNvSpPr txBox="1"/>
            <p:nvPr/>
          </p:nvSpPr>
          <p:spPr>
            <a:xfrm>
              <a:off x="7119376" y="920410"/>
              <a:ext cx="110561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/>
                <a:t>Data Management</a:t>
              </a:r>
              <a:endParaRPr lang="de-AT" sz="1200" dirty="0"/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3F1C50EE-CFDA-48E7-2BED-FF5AC5AF96B1}"/>
              </a:ext>
            </a:extLst>
          </p:cNvPr>
          <p:cNvGrpSpPr/>
          <p:nvPr/>
        </p:nvGrpSpPr>
        <p:grpSpPr>
          <a:xfrm>
            <a:off x="7148134" y="1908920"/>
            <a:ext cx="1540023" cy="1541294"/>
            <a:chOff x="7617822" y="2120577"/>
            <a:chExt cx="1540023" cy="1541294"/>
          </a:xfrm>
        </p:grpSpPr>
        <p:sp>
          <p:nvSpPr>
            <p:cNvPr id="96" name="Google Shape;2747;p31">
              <a:extLst>
                <a:ext uri="{FF2B5EF4-FFF2-40B4-BE49-F238E27FC236}">
                  <a16:creationId xmlns:a16="http://schemas.microsoft.com/office/drawing/2014/main" id="{F99E2205-2F22-4DB9-3E9E-F65E64578569}"/>
                </a:ext>
              </a:extLst>
            </p:cNvPr>
            <p:cNvSpPr/>
            <p:nvPr/>
          </p:nvSpPr>
          <p:spPr>
            <a:xfrm>
              <a:off x="7617822" y="2120577"/>
              <a:ext cx="1540023" cy="1541294"/>
            </a:xfrm>
            <a:custGeom>
              <a:avLst/>
              <a:gdLst/>
              <a:ahLst/>
              <a:cxnLst/>
              <a:rect l="l" t="t" r="r" b="b"/>
              <a:pathLst>
                <a:path w="38764" h="38796" extrusionOk="0">
                  <a:moveTo>
                    <a:pt x="19382" y="286"/>
                  </a:moveTo>
                  <a:cubicBezTo>
                    <a:pt x="29928" y="286"/>
                    <a:pt x="38510" y="8868"/>
                    <a:pt x="38510" y="19414"/>
                  </a:cubicBezTo>
                  <a:cubicBezTo>
                    <a:pt x="38510" y="29960"/>
                    <a:pt x="29928" y="38542"/>
                    <a:pt x="19382" y="38542"/>
                  </a:cubicBezTo>
                  <a:cubicBezTo>
                    <a:pt x="8805" y="38542"/>
                    <a:pt x="222" y="29960"/>
                    <a:pt x="222" y="19414"/>
                  </a:cubicBezTo>
                  <a:cubicBezTo>
                    <a:pt x="222" y="8868"/>
                    <a:pt x="8805" y="286"/>
                    <a:pt x="19382" y="286"/>
                  </a:cubicBezTo>
                  <a:close/>
                  <a:moveTo>
                    <a:pt x="19382" y="1"/>
                  </a:moveTo>
                  <a:cubicBezTo>
                    <a:pt x="8678" y="1"/>
                    <a:pt x="1" y="8710"/>
                    <a:pt x="1" y="19414"/>
                  </a:cubicBezTo>
                  <a:cubicBezTo>
                    <a:pt x="1" y="30086"/>
                    <a:pt x="8678" y="38795"/>
                    <a:pt x="19382" y="38795"/>
                  </a:cubicBezTo>
                  <a:cubicBezTo>
                    <a:pt x="30055" y="38795"/>
                    <a:pt x="38764" y="30086"/>
                    <a:pt x="38764" y="19414"/>
                  </a:cubicBezTo>
                  <a:cubicBezTo>
                    <a:pt x="38764" y="8710"/>
                    <a:pt x="30055" y="1"/>
                    <a:pt x="19382" y="1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" name="Google Shape;2748;p31">
              <a:extLst>
                <a:ext uri="{FF2B5EF4-FFF2-40B4-BE49-F238E27FC236}">
                  <a16:creationId xmlns:a16="http://schemas.microsoft.com/office/drawing/2014/main" id="{4EFB8E72-B562-4C4F-2D9A-700FF16775C8}"/>
                </a:ext>
              </a:extLst>
            </p:cNvPr>
            <p:cNvSpPr/>
            <p:nvPr/>
          </p:nvSpPr>
          <p:spPr>
            <a:xfrm>
              <a:off x="7770695" y="2266503"/>
              <a:ext cx="1234275" cy="1234275"/>
            </a:xfrm>
            <a:custGeom>
              <a:avLst/>
              <a:gdLst/>
              <a:ahLst/>
              <a:cxnLst/>
              <a:rect l="l" t="t" r="r" b="b"/>
              <a:pathLst>
                <a:path w="31068" h="31068" extrusionOk="0">
                  <a:moveTo>
                    <a:pt x="15550" y="3769"/>
                  </a:moveTo>
                  <a:cubicBezTo>
                    <a:pt x="22042" y="3769"/>
                    <a:pt x="27331" y="9058"/>
                    <a:pt x="27331" y="15550"/>
                  </a:cubicBezTo>
                  <a:cubicBezTo>
                    <a:pt x="27331" y="22042"/>
                    <a:pt x="22042" y="27331"/>
                    <a:pt x="15550" y="27331"/>
                  </a:cubicBezTo>
                  <a:cubicBezTo>
                    <a:pt x="9026" y="27331"/>
                    <a:pt x="3738" y="22042"/>
                    <a:pt x="3738" y="15550"/>
                  </a:cubicBezTo>
                  <a:cubicBezTo>
                    <a:pt x="3738" y="9026"/>
                    <a:pt x="9026" y="3769"/>
                    <a:pt x="15550" y="3769"/>
                  </a:cubicBezTo>
                  <a:close/>
                  <a:moveTo>
                    <a:pt x="15550" y="1"/>
                  </a:moveTo>
                  <a:cubicBezTo>
                    <a:pt x="6968" y="1"/>
                    <a:pt x="1" y="6968"/>
                    <a:pt x="1" y="15550"/>
                  </a:cubicBezTo>
                  <a:cubicBezTo>
                    <a:pt x="1" y="24101"/>
                    <a:pt x="6968" y="31068"/>
                    <a:pt x="15550" y="31068"/>
                  </a:cubicBezTo>
                  <a:cubicBezTo>
                    <a:pt x="24101" y="31068"/>
                    <a:pt x="31068" y="24101"/>
                    <a:pt x="31068" y="15550"/>
                  </a:cubicBezTo>
                  <a:cubicBezTo>
                    <a:pt x="31068" y="6968"/>
                    <a:pt x="24101" y="1"/>
                    <a:pt x="15550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FF34296F-2092-FC32-4E8B-2612D37B98A1}"/>
                </a:ext>
              </a:extLst>
            </p:cNvPr>
            <p:cNvSpPr txBox="1"/>
            <p:nvPr/>
          </p:nvSpPr>
          <p:spPr>
            <a:xfrm>
              <a:off x="7836106" y="2622198"/>
              <a:ext cx="110561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 err="1"/>
                <a:t>Testing</a:t>
              </a:r>
              <a:r>
                <a:rPr lang="de-DE" sz="1200" dirty="0"/>
                <a:t> &amp; Monitoring</a:t>
              </a:r>
              <a:endParaRPr lang="de-AT" sz="1200" dirty="0"/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F094686D-CA7C-D666-CB26-C2E24A8722CF}"/>
              </a:ext>
            </a:extLst>
          </p:cNvPr>
          <p:cNvGrpSpPr/>
          <p:nvPr/>
        </p:nvGrpSpPr>
        <p:grpSpPr>
          <a:xfrm>
            <a:off x="6395853" y="3829100"/>
            <a:ext cx="1540023" cy="1541294"/>
            <a:chOff x="6748217" y="3869878"/>
            <a:chExt cx="1540023" cy="1541294"/>
          </a:xfrm>
        </p:grpSpPr>
        <p:sp>
          <p:nvSpPr>
            <p:cNvPr id="101" name="Google Shape;2747;p31">
              <a:extLst>
                <a:ext uri="{FF2B5EF4-FFF2-40B4-BE49-F238E27FC236}">
                  <a16:creationId xmlns:a16="http://schemas.microsoft.com/office/drawing/2014/main" id="{18CEF1F8-2951-FAD8-CBE1-B00661CA463C}"/>
                </a:ext>
              </a:extLst>
            </p:cNvPr>
            <p:cNvSpPr/>
            <p:nvPr/>
          </p:nvSpPr>
          <p:spPr>
            <a:xfrm>
              <a:off x="6748217" y="3869878"/>
              <a:ext cx="1540023" cy="1541294"/>
            </a:xfrm>
            <a:custGeom>
              <a:avLst/>
              <a:gdLst/>
              <a:ahLst/>
              <a:cxnLst/>
              <a:rect l="l" t="t" r="r" b="b"/>
              <a:pathLst>
                <a:path w="38764" h="38796" extrusionOk="0">
                  <a:moveTo>
                    <a:pt x="19382" y="286"/>
                  </a:moveTo>
                  <a:cubicBezTo>
                    <a:pt x="29928" y="286"/>
                    <a:pt x="38510" y="8868"/>
                    <a:pt x="38510" y="19414"/>
                  </a:cubicBezTo>
                  <a:cubicBezTo>
                    <a:pt x="38510" y="29960"/>
                    <a:pt x="29928" y="38542"/>
                    <a:pt x="19382" y="38542"/>
                  </a:cubicBezTo>
                  <a:cubicBezTo>
                    <a:pt x="8805" y="38542"/>
                    <a:pt x="222" y="29960"/>
                    <a:pt x="222" y="19414"/>
                  </a:cubicBezTo>
                  <a:cubicBezTo>
                    <a:pt x="222" y="8868"/>
                    <a:pt x="8805" y="286"/>
                    <a:pt x="19382" y="286"/>
                  </a:cubicBezTo>
                  <a:close/>
                  <a:moveTo>
                    <a:pt x="19382" y="1"/>
                  </a:moveTo>
                  <a:cubicBezTo>
                    <a:pt x="8678" y="1"/>
                    <a:pt x="1" y="8710"/>
                    <a:pt x="1" y="19414"/>
                  </a:cubicBezTo>
                  <a:cubicBezTo>
                    <a:pt x="1" y="30086"/>
                    <a:pt x="8678" y="38795"/>
                    <a:pt x="19382" y="38795"/>
                  </a:cubicBezTo>
                  <a:cubicBezTo>
                    <a:pt x="30055" y="38795"/>
                    <a:pt x="38764" y="30086"/>
                    <a:pt x="38764" y="19414"/>
                  </a:cubicBezTo>
                  <a:cubicBezTo>
                    <a:pt x="38764" y="8710"/>
                    <a:pt x="30055" y="1"/>
                    <a:pt x="19382" y="1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" name="Google Shape;2748;p31">
              <a:extLst>
                <a:ext uri="{FF2B5EF4-FFF2-40B4-BE49-F238E27FC236}">
                  <a16:creationId xmlns:a16="http://schemas.microsoft.com/office/drawing/2014/main" id="{4F7D6D4C-9D6F-342A-FE6A-756E2FD6ACFD}"/>
                </a:ext>
              </a:extLst>
            </p:cNvPr>
            <p:cNvSpPr/>
            <p:nvPr/>
          </p:nvSpPr>
          <p:spPr>
            <a:xfrm>
              <a:off x="6901090" y="4015804"/>
              <a:ext cx="1234275" cy="1234275"/>
            </a:xfrm>
            <a:custGeom>
              <a:avLst/>
              <a:gdLst/>
              <a:ahLst/>
              <a:cxnLst/>
              <a:rect l="l" t="t" r="r" b="b"/>
              <a:pathLst>
                <a:path w="31068" h="31068" extrusionOk="0">
                  <a:moveTo>
                    <a:pt x="15550" y="3769"/>
                  </a:moveTo>
                  <a:cubicBezTo>
                    <a:pt x="22042" y="3769"/>
                    <a:pt x="27331" y="9058"/>
                    <a:pt x="27331" y="15550"/>
                  </a:cubicBezTo>
                  <a:cubicBezTo>
                    <a:pt x="27331" y="22042"/>
                    <a:pt x="22042" y="27331"/>
                    <a:pt x="15550" y="27331"/>
                  </a:cubicBezTo>
                  <a:cubicBezTo>
                    <a:pt x="9026" y="27331"/>
                    <a:pt x="3738" y="22042"/>
                    <a:pt x="3738" y="15550"/>
                  </a:cubicBezTo>
                  <a:cubicBezTo>
                    <a:pt x="3738" y="9026"/>
                    <a:pt x="9026" y="3769"/>
                    <a:pt x="15550" y="3769"/>
                  </a:cubicBezTo>
                  <a:close/>
                  <a:moveTo>
                    <a:pt x="15550" y="1"/>
                  </a:moveTo>
                  <a:cubicBezTo>
                    <a:pt x="6968" y="1"/>
                    <a:pt x="1" y="6968"/>
                    <a:pt x="1" y="15550"/>
                  </a:cubicBezTo>
                  <a:cubicBezTo>
                    <a:pt x="1" y="24101"/>
                    <a:pt x="6968" y="31068"/>
                    <a:pt x="15550" y="31068"/>
                  </a:cubicBezTo>
                  <a:cubicBezTo>
                    <a:pt x="24101" y="31068"/>
                    <a:pt x="31068" y="24101"/>
                    <a:pt x="31068" y="15550"/>
                  </a:cubicBezTo>
                  <a:cubicBezTo>
                    <a:pt x="31068" y="6968"/>
                    <a:pt x="24101" y="1"/>
                    <a:pt x="15550" y="1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endParaRPr dirty="0"/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B7172068-58A6-F128-2AE9-9BC3C5079D1F}"/>
                </a:ext>
              </a:extLst>
            </p:cNvPr>
            <p:cNvSpPr txBox="1"/>
            <p:nvPr/>
          </p:nvSpPr>
          <p:spPr>
            <a:xfrm>
              <a:off x="6965420" y="4224914"/>
              <a:ext cx="110561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/>
                <a:t>Non-</a:t>
              </a:r>
              <a:r>
                <a:rPr lang="de-DE" sz="1200" dirty="0" err="1"/>
                <a:t>Functional</a:t>
              </a:r>
              <a:r>
                <a:rPr lang="de-DE" sz="1200" dirty="0"/>
                <a:t> </a:t>
              </a:r>
              <a:r>
                <a:rPr lang="de-DE" sz="1200" dirty="0" err="1"/>
                <a:t>Requirements</a:t>
              </a:r>
              <a:endParaRPr lang="de-AT" sz="1200" dirty="0"/>
            </a:p>
          </p:txBody>
        </p:sp>
      </p:grpSp>
      <p:sp>
        <p:nvSpPr>
          <p:cNvPr id="114" name="Google Shape;2336;p27">
            <a:extLst>
              <a:ext uri="{FF2B5EF4-FFF2-40B4-BE49-F238E27FC236}">
                <a16:creationId xmlns:a16="http://schemas.microsoft.com/office/drawing/2014/main" id="{22277259-A628-295A-57CB-1AB7855B9ED0}"/>
              </a:ext>
            </a:extLst>
          </p:cNvPr>
          <p:cNvSpPr/>
          <p:nvPr/>
        </p:nvSpPr>
        <p:spPr>
          <a:xfrm>
            <a:off x="3395132" y="5681066"/>
            <a:ext cx="6946664" cy="354691"/>
          </a:xfrm>
          <a:custGeom>
            <a:avLst/>
            <a:gdLst/>
            <a:ahLst/>
            <a:cxnLst/>
            <a:rect l="l" t="t" r="r" b="b"/>
            <a:pathLst>
              <a:path w="102863" h="11053" extrusionOk="0">
                <a:moveTo>
                  <a:pt x="1" y="1"/>
                </a:moveTo>
                <a:lnTo>
                  <a:pt x="1" y="11053"/>
                </a:lnTo>
                <a:lnTo>
                  <a:pt x="102862" y="11053"/>
                </a:lnTo>
                <a:lnTo>
                  <a:pt x="102862" y="1"/>
                </a:lnTo>
                <a:close/>
              </a:path>
            </a:pathLst>
          </a:custGeom>
          <a:solidFill>
            <a:srgbClr val="22283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" sz="1400" dirty="0">
                <a:latin typeface="Fira Sans Medium"/>
                <a:sym typeface="Fira Sans"/>
              </a:rPr>
              <a:t>Erste Container Platform</a:t>
            </a:r>
            <a:endParaRPr sz="1400" dirty="0">
              <a:latin typeface="Fira Sans Medium"/>
              <a:sym typeface="Fira Sans"/>
            </a:endParaRPr>
          </a:p>
        </p:txBody>
      </p:sp>
      <p:sp>
        <p:nvSpPr>
          <p:cNvPr id="115" name="Google Shape;2337;p27">
            <a:extLst>
              <a:ext uri="{FF2B5EF4-FFF2-40B4-BE49-F238E27FC236}">
                <a16:creationId xmlns:a16="http://schemas.microsoft.com/office/drawing/2014/main" id="{54DA4776-73B3-8FA3-86BF-909CB777AC0A}"/>
              </a:ext>
            </a:extLst>
          </p:cNvPr>
          <p:cNvSpPr/>
          <p:nvPr/>
        </p:nvSpPr>
        <p:spPr>
          <a:xfrm>
            <a:off x="94258" y="5677283"/>
            <a:ext cx="3300874" cy="353664"/>
          </a:xfrm>
          <a:custGeom>
            <a:avLst/>
            <a:gdLst/>
            <a:ahLst/>
            <a:cxnLst/>
            <a:rect l="l" t="t" r="r" b="b"/>
            <a:pathLst>
              <a:path w="102863" h="11021" extrusionOk="0">
                <a:moveTo>
                  <a:pt x="1" y="0"/>
                </a:moveTo>
                <a:lnTo>
                  <a:pt x="1" y="11021"/>
                </a:lnTo>
                <a:lnTo>
                  <a:pt x="102862" y="11021"/>
                </a:lnTo>
                <a:lnTo>
                  <a:pt x="102862" y="0"/>
                </a:lnTo>
                <a:close/>
              </a:path>
            </a:pathLst>
          </a:custGeom>
          <a:solidFill>
            <a:srgbClr val="30475E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 dirty="0">
                <a:latin typeface="Fira Sans Medium"/>
                <a:sym typeface="Fira Sans"/>
              </a:rPr>
              <a:t>Cloud</a:t>
            </a:r>
            <a:endParaRPr sz="1400" dirty="0">
              <a:latin typeface="Fira Sans Medium"/>
              <a:sym typeface="Fira Sans"/>
            </a:endParaRPr>
          </a:p>
        </p:txBody>
      </p:sp>
      <p:sp>
        <p:nvSpPr>
          <p:cNvPr id="116" name="Google Shape;2338;p27">
            <a:extLst>
              <a:ext uri="{FF2B5EF4-FFF2-40B4-BE49-F238E27FC236}">
                <a16:creationId xmlns:a16="http://schemas.microsoft.com/office/drawing/2014/main" id="{478E6799-96D3-A45E-637F-D7ED03F8BA52}"/>
              </a:ext>
            </a:extLst>
          </p:cNvPr>
          <p:cNvSpPr/>
          <p:nvPr/>
        </p:nvSpPr>
        <p:spPr>
          <a:xfrm>
            <a:off x="96232" y="6041556"/>
            <a:ext cx="10245564" cy="354723"/>
          </a:xfrm>
          <a:custGeom>
            <a:avLst/>
            <a:gdLst/>
            <a:ahLst/>
            <a:cxnLst/>
            <a:rect l="l" t="t" r="r" b="b"/>
            <a:pathLst>
              <a:path w="102863" h="11054" extrusionOk="0">
                <a:moveTo>
                  <a:pt x="1" y="1"/>
                </a:moveTo>
                <a:lnTo>
                  <a:pt x="1" y="11053"/>
                </a:lnTo>
                <a:lnTo>
                  <a:pt x="102862" y="11053"/>
                </a:lnTo>
                <a:lnTo>
                  <a:pt x="102862" y="1"/>
                </a:lnTo>
                <a:close/>
              </a:path>
            </a:pathLst>
          </a:custGeom>
          <a:solidFill>
            <a:srgbClr val="F2A365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 dirty="0">
                <a:latin typeface="Fira Sans Medium"/>
                <a:sym typeface="Fira Sans"/>
              </a:rPr>
              <a:t>AI Solution</a:t>
            </a:r>
            <a:endParaRPr sz="1400" dirty="0">
              <a:latin typeface="Fira Sans Medium"/>
              <a:sym typeface="Fira Sans"/>
            </a:endParaRPr>
          </a:p>
        </p:txBody>
      </p:sp>
      <p:sp>
        <p:nvSpPr>
          <p:cNvPr id="117" name="Google Shape;2339;p27">
            <a:extLst>
              <a:ext uri="{FF2B5EF4-FFF2-40B4-BE49-F238E27FC236}">
                <a16:creationId xmlns:a16="http://schemas.microsoft.com/office/drawing/2014/main" id="{20519809-DEB5-1E6D-46FC-5118890E9C28}"/>
              </a:ext>
            </a:extLst>
          </p:cNvPr>
          <p:cNvSpPr/>
          <p:nvPr/>
        </p:nvSpPr>
        <p:spPr>
          <a:xfrm>
            <a:off x="10341796" y="5675267"/>
            <a:ext cx="1694491" cy="721012"/>
          </a:xfrm>
          <a:custGeom>
            <a:avLst/>
            <a:gdLst/>
            <a:ahLst/>
            <a:cxnLst/>
            <a:rect l="l" t="t" r="r" b="b"/>
            <a:pathLst>
              <a:path w="102863" h="11021" extrusionOk="0">
                <a:moveTo>
                  <a:pt x="1" y="0"/>
                </a:moveTo>
                <a:lnTo>
                  <a:pt x="1" y="11021"/>
                </a:lnTo>
                <a:lnTo>
                  <a:pt x="102862" y="11021"/>
                </a:lnTo>
                <a:lnTo>
                  <a:pt x="102862" y="0"/>
                </a:lnTo>
                <a:close/>
              </a:path>
            </a:pathLst>
          </a:custGeom>
          <a:solidFill>
            <a:srgbClr val="C4C4C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" sz="1400" dirty="0">
                <a:latin typeface="Fira Sans Medium"/>
                <a:sym typeface="Fira Sans"/>
              </a:rPr>
              <a:t>Business Units</a:t>
            </a:r>
            <a:endParaRPr sz="1400" dirty="0">
              <a:latin typeface="Fira Sans Medium"/>
              <a:sym typeface="Fira Sans"/>
            </a:endParaRPr>
          </a:p>
        </p:txBody>
      </p: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44D55F76-797B-7BD4-3B12-52A8BCC9B08A}"/>
              </a:ext>
            </a:extLst>
          </p:cNvPr>
          <p:cNvGrpSpPr/>
          <p:nvPr/>
        </p:nvGrpSpPr>
        <p:grpSpPr>
          <a:xfrm rot="2392688">
            <a:off x="6041488" y="3744652"/>
            <a:ext cx="533802" cy="122711"/>
            <a:chOff x="7333585" y="5380203"/>
            <a:chExt cx="820762" cy="122994"/>
          </a:xfrm>
        </p:grpSpPr>
        <p:sp>
          <p:nvSpPr>
            <p:cNvPr id="126" name="Google Shape;2749;p31">
              <a:extLst>
                <a:ext uri="{FF2B5EF4-FFF2-40B4-BE49-F238E27FC236}">
                  <a16:creationId xmlns:a16="http://schemas.microsoft.com/office/drawing/2014/main" id="{60E9827E-DDA2-A353-956F-39EA53E8D070}"/>
                </a:ext>
              </a:extLst>
            </p:cNvPr>
            <p:cNvSpPr/>
            <p:nvPr/>
          </p:nvSpPr>
          <p:spPr>
            <a:xfrm>
              <a:off x="7416342" y="5424551"/>
              <a:ext cx="656096" cy="45719"/>
            </a:xfrm>
            <a:custGeom>
              <a:avLst/>
              <a:gdLst/>
              <a:ahLst/>
              <a:cxnLst/>
              <a:rect l="l" t="t" r="r" b="b"/>
              <a:pathLst>
                <a:path w="55643" h="318" extrusionOk="0">
                  <a:moveTo>
                    <a:pt x="0" y="1"/>
                  </a:moveTo>
                  <a:lnTo>
                    <a:pt x="0" y="317"/>
                  </a:lnTo>
                  <a:lnTo>
                    <a:pt x="55643" y="317"/>
                  </a:lnTo>
                  <a:lnTo>
                    <a:pt x="55643" y="1"/>
                  </a:ln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" name="Google Shape;2775;p31">
              <a:extLst>
                <a:ext uri="{FF2B5EF4-FFF2-40B4-BE49-F238E27FC236}">
                  <a16:creationId xmlns:a16="http://schemas.microsoft.com/office/drawing/2014/main" id="{AF479074-6AF1-4611-05EF-7E4985E87FDE}"/>
                </a:ext>
              </a:extLst>
            </p:cNvPr>
            <p:cNvSpPr/>
            <p:nvPr/>
          </p:nvSpPr>
          <p:spPr>
            <a:xfrm>
              <a:off x="8069494" y="5380203"/>
              <a:ext cx="84853" cy="118175"/>
            </a:xfrm>
            <a:custGeom>
              <a:avLst/>
              <a:gdLst/>
              <a:ahLst/>
              <a:cxnLst/>
              <a:rect l="l" t="t" r="r" b="b"/>
              <a:pathLst>
                <a:path w="2661" h="3706" extrusionOk="0">
                  <a:moveTo>
                    <a:pt x="0" y="1"/>
                  </a:moveTo>
                  <a:lnTo>
                    <a:pt x="0" y="1869"/>
                  </a:lnTo>
                  <a:lnTo>
                    <a:pt x="0" y="3706"/>
                  </a:lnTo>
                  <a:lnTo>
                    <a:pt x="1330" y="2787"/>
                  </a:lnTo>
                  <a:lnTo>
                    <a:pt x="2660" y="1869"/>
                  </a:lnTo>
                  <a:lnTo>
                    <a:pt x="1330" y="91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" name="Google Shape;2775;p31">
              <a:extLst>
                <a:ext uri="{FF2B5EF4-FFF2-40B4-BE49-F238E27FC236}">
                  <a16:creationId xmlns:a16="http://schemas.microsoft.com/office/drawing/2014/main" id="{5483FC7E-857A-36B5-956F-B52C86228291}"/>
                </a:ext>
              </a:extLst>
            </p:cNvPr>
            <p:cNvSpPr/>
            <p:nvPr/>
          </p:nvSpPr>
          <p:spPr>
            <a:xfrm rot="10800000">
              <a:off x="7333585" y="5385022"/>
              <a:ext cx="84853" cy="118175"/>
            </a:xfrm>
            <a:custGeom>
              <a:avLst/>
              <a:gdLst/>
              <a:ahLst/>
              <a:cxnLst/>
              <a:rect l="l" t="t" r="r" b="b"/>
              <a:pathLst>
                <a:path w="2661" h="3706" extrusionOk="0">
                  <a:moveTo>
                    <a:pt x="0" y="1"/>
                  </a:moveTo>
                  <a:lnTo>
                    <a:pt x="0" y="1869"/>
                  </a:lnTo>
                  <a:lnTo>
                    <a:pt x="0" y="3706"/>
                  </a:lnTo>
                  <a:lnTo>
                    <a:pt x="1330" y="2787"/>
                  </a:lnTo>
                  <a:lnTo>
                    <a:pt x="2660" y="1869"/>
                  </a:lnTo>
                  <a:lnTo>
                    <a:pt x="1330" y="91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C993188A-FC5F-50F3-9081-FB76A7801BA6}"/>
              </a:ext>
            </a:extLst>
          </p:cNvPr>
          <p:cNvGrpSpPr/>
          <p:nvPr/>
        </p:nvGrpSpPr>
        <p:grpSpPr>
          <a:xfrm rot="19152190">
            <a:off x="6098440" y="1581884"/>
            <a:ext cx="533802" cy="122711"/>
            <a:chOff x="7333585" y="5380203"/>
            <a:chExt cx="820762" cy="122994"/>
          </a:xfrm>
        </p:grpSpPr>
        <p:sp>
          <p:nvSpPr>
            <p:cNvPr id="130" name="Google Shape;2749;p31">
              <a:extLst>
                <a:ext uri="{FF2B5EF4-FFF2-40B4-BE49-F238E27FC236}">
                  <a16:creationId xmlns:a16="http://schemas.microsoft.com/office/drawing/2014/main" id="{AA7C5562-D866-FE55-0A75-9BD0ECB0F4C0}"/>
                </a:ext>
              </a:extLst>
            </p:cNvPr>
            <p:cNvSpPr/>
            <p:nvPr/>
          </p:nvSpPr>
          <p:spPr>
            <a:xfrm>
              <a:off x="7416342" y="5424551"/>
              <a:ext cx="656096" cy="45719"/>
            </a:xfrm>
            <a:custGeom>
              <a:avLst/>
              <a:gdLst/>
              <a:ahLst/>
              <a:cxnLst/>
              <a:rect l="l" t="t" r="r" b="b"/>
              <a:pathLst>
                <a:path w="55643" h="318" extrusionOk="0">
                  <a:moveTo>
                    <a:pt x="0" y="1"/>
                  </a:moveTo>
                  <a:lnTo>
                    <a:pt x="0" y="317"/>
                  </a:lnTo>
                  <a:lnTo>
                    <a:pt x="55643" y="317"/>
                  </a:lnTo>
                  <a:lnTo>
                    <a:pt x="55643" y="1"/>
                  </a:ln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" name="Google Shape;2775;p31">
              <a:extLst>
                <a:ext uri="{FF2B5EF4-FFF2-40B4-BE49-F238E27FC236}">
                  <a16:creationId xmlns:a16="http://schemas.microsoft.com/office/drawing/2014/main" id="{EA487A34-C7EE-A30A-F4BC-2AFF1E790B0B}"/>
                </a:ext>
              </a:extLst>
            </p:cNvPr>
            <p:cNvSpPr/>
            <p:nvPr/>
          </p:nvSpPr>
          <p:spPr>
            <a:xfrm>
              <a:off x="8069494" y="5380203"/>
              <a:ext cx="84853" cy="118175"/>
            </a:xfrm>
            <a:custGeom>
              <a:avLst/>
              <a:gdLst/>
              <a:ahLst/>
              <a:cxnLst/>
              <a:rect l="l" t="t" r="r" b="b"/>
              <a:pathLst>
                <a:path w="2661" h="3706" extrusionOk="0">
                  <a:moveTo>
                    <a:pt x="0" y="1"/>
                  </a:moveTo>
                  <a:lnTo>
                    <a:pt x="0" y="1869"/>
                  </a:lnTo>
                  <a:lnTo>
                    <a:pt x="0" y="3706"/>
                  </a:lnTo>
                  <a:lnTo>
                    <a:pt x="1330" y="2787"/>
                  </a:lnTo>
                  <a:lnTo>
                    <a:pt x="2660" y="1869"/>
                  </a:lnTo>
                  <a:lnTo>
                    <a:pt x="1330" y="91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" name="Google Shape;2775;p31">
              <a:extLst>
                <a:ext uri="{FF2B5EF4-FFF2-40B4-BE49-F238E27FC236}">
                  <a16:creationId xmlns:a16="http://schemas.microsoft.com/office/drawing/2014/main" id="{10FF6C22-997A-306F-6239-4D5E4CA14CF0}"/>
                </a:ext>
              </a:extLst>
            </p:cNvPr>
            <p:cNvSpPr/>
            <p:nvPr/>
          </p:nvSpPr>
          <p:spPr>
            <a:xfrm rot="10800000">
              <a:off x="7333585" y="5385022"/>
              <a:ext cx="84853" cy="118175"/>
            </a:xfrm>
            <a:custGeom>
              <a:avLst/>
              <a:gdLst/>
              <a:ahLst/>
              <a:cxnLst/>
              <a:rect l="l" t="t" r="r" b="b"/>
              <a:pathLst>
                <a:path w="2661" h="3706" extrusionOk="0">
                  <a:moveTo>
                    <a:pt x="0" y="1"/>
                  </a:moveTo>
                  <a:lnTo>
                    <a:pt x="0" y="1869"/>
                  </a:lnTo>
                  <a:lnTo>
                    <a:pt x="0" y="3706"/>
                  </a:lnTo>
                  <a:lnTo>
                    <a:pt x="1330" y="2787"/>
                  </a:lnTo>
                  <a:lnTo>
                    <a:pt x="2660" y="1869"/>
                  </a:lnTo>
                  <a:lnTo>
                    <a:pt x="1330" y="91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46" name="Rectangle 145">
            <a:extLst>
              <a:ext uri="{FF2B5EF4-FFF2-40B4-BE49-F238E27FC236}">
                <a16:creationId xmlns:a16="http://schemas.microsoft.com/office/drawing/2014/main" id="{90A4F340-2E28-E08A-3F2D-B76BDCEEF269}"/>
              </a:ext>
            </a:extLst>
          </p:cNvPr>
          <p:cNvSpPr/>
          <p:nvPr/>
        </p:nvSpPr>
        <p:spPr>
          <a:xfrm>
            <a:off x="94258" y="149086"/>
            <a:ext cx="11942029" cy="6247194"/>
          </a:xfrm>
          <a:prstGeom prst="rect">
            <a:avLst/>
          </a:prstGeom>
          <a:noFill/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B10BA093-A445-2F37-C923-B136568C69C6}"/>
              </a:ext>
            </a:extLst>
          </p:cNvPr>
          <p:cNvCxnSpPr>
            <a:cxnSpLocks/>
          </p:cNvCxnSpPr>
          <p:nvPr/>
        </p:nvCxnSpPr>
        <p:spPr>
          <a:xfrm flipH="1" flipV="1">
            <a:off x="10326757" y="149087"/>
            <a:ext cx="15039" cy="5526180"/>
          </a:xfrm>
          <a:prstGeom prst="line">
            <a:avLst/>
          </a:prstGeom>
          <a:ln w="2540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42AD0779-22CA-84F3-1075-D1763CF982C2}"/>
              </a:ext>
            </a:extLst>
          </p:cNvPr>
          <p:cNvCxnSpPr/>
          <p:nvPr/>
        </p:nvCxnSpPr>
        <p:spPr>
          <a:xfrm>
            <a:off x="94258" y="5675267"/>
            <a:ext cx="11942029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5" name="Group 154">
            <a:extLst>
              <a:ext uri="{FF2B5EF4-FFF2-40B4-BE49-F238E27FC236}">
                <a16:creationId xmlns:a16="http://schemas.microsoft.com/office/drawing/2014/main" id="{0AFF73E4-70F7-9E02-C6D5-23D97507817F}"/>
              </a:ext>
            </a:extLst>
          </p:cNvPr>
          <p:cNvGrpSpPr/>
          <p:nvPr/>
        </p:nvGrpSpPr>
        <p:grpSpPr>
          <a:xfrm>
            <a:off x="6498202" y="2619033"/>
            <a:ext cx="533802" cy="122711"/>
            <a:chOff x="7333585" y="5380203"/>
            <a:chExt cx="820762" cy="122994"/>
          </a:xfrm>
        </p:grpSpPr>
        <p:sp>
          <p:nvSpPr>
            <p:cNvPr id="156" name="Google Shape;2749;p31">
              <a:extLst>
                <a:ext uri="{FF2B5EF4-FFF2-40B4-BE49-F238E27FC236}">
                  <a16:creationId xmlns:a16="http://schemas.microsoft.com/office/drawing/2014/main" id="{2EB89861-E76B-1034-BF99-DC8ECD71B8CB}"/>
                </a:ext>
              </a:extLst>
            </p:cNvPr>
            <p:cNvSpPr/>
            <p:nvPr/>
          </p:nvSpPr>
          <p:spPr>
            <a:xfrm>
              <a:off x="7416342" y="5424551"/>
              <a:ext cx="656096" cy="45719"/>
            </a:xfrm>
            <a:custGeom>
              <a:avLst/>
              <a:gdLst/>
              <a:ahLst/>
              <a:cxnLst/>
              <a:rect l="l" t="t" r="r" b="b"/>
              <a:pathLst>
                <a:path w="55643" h="318" extrusionOk="0">
                  <a:moveTo>
                    <a:pt x="0" y="1"/>
                  </a:moveTo>
                  <a:lnTo>
                    <a:pt x="0" y="317"/>
                  </a:lnTo>
                  <a:lnTo>
                    <a:pt x="55643" y="317"/>
                  </a:lnTo>
                  <a:lnTo>
                    <a:pt x="55643" y="1"/>
                  </a:ln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" name="Google Shape;2775;p31">
              <a:extLst>
                <a:ext uri="{FF2B5EF4-FFF2-40B4-BE49-F238E27FC236}">
                  <a16:creationId xmlns:a16="http://schemas.microsoft.com/office/drawing/2014/main" id="{0B85526B-9D5E-56A7-E620-6B5066D030B8}"/>
                </a:ext>
              </a:extLst>
            </p:cNvPr>
            <p:cNvSpPr/>
            <p:nvPr/>
          </p:nvSpPr>
          <p:spPr>
            <a:xfrm>
              <a:off x="8069494" y="5380203"/>
              <a:ext cx="84853" cy="118175"/>
            </a:xfrm>
            <a:custGeom>
              <a:avLst/>
              <a:gdLst/>
              <a:ahLst/>
              <a:cxnLst/>
              <a:rect l="l" t="t" r="r" b="b"/>
              <a:pathLst>
                <a:path w="2661" h="3706" extrusionOk="0">
                  <a:moveTo>
                    <a:pt x="0" y="1"/>
                  </a:moveTo>
                  <a:lnTo>
                    <a:pt x="0" y="1869"/>
                  </a:lnTo>
                  <a:lnTo>
                    <a:pt x="0" y="3706"/>
                  </a:lnTo>
                  <a:lnTo>
                    <a:pt x="1330" y="2787"/>
                  </a:lnTo>
                  <a:lnTo>
                    <a:pt x="2660" y="1869"/>
                  </a:lnTo>
                  <a:lnTo>
                    <a:pt x="1330" y="91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" name="Google Shape;2775;p31">
              <a:extLst>
                <a:ext uri="{FF2B5EF4-FFF2-40B4-BE49-F238E27FC236}">
                  <a16:creationId xmlns:a16="http://schemas.microsoft.com/office/drawing/2014/main" id="{A5EC7436-5FA9-C4D2-29B3-6B3BFFA5F95C}"/>
                </a:ext>
              </a:extLst>
            </p:cNvPr>
            <p:cNvSpPr/>
            <p:nvPr/>
          </p:nvSpPr>
          <p:spPr>
            <a:xfrm rot="10800000">
              <a:off x="7333585" y="5385022"/>
              <a:ext cx="84853" cy="118175"/>
            </a:xfrm>
            <a:custGeom>
              <a:avLst/>
              <a:gdLst/>
              <a:ahLst/>
              <a:cxnLst/>
              <a:rect l="l" t="t" r="r" b="b"/>
              <a:pathLst>
                <a:path w="2661" h="3706" extrusionOk="0">
                  <a:moveTo>
                    <a:pt x="0" y="1"/>
                  </a:moveTo>
                  <a:lnTo>
                    <a:pt x="0" y="1869"/>
                  </a:lnTo>
                  <a:lnTo>
                    <a:pt x="0" y="3706"/>
                  </a:lnTo>
                  <a:lnTo>
                    <a:pt x="1330" y="2787"/>
                  </a:lnTo>
                  <a:lnTo>
                    <a:pt x="2660" y="1869"/>
                  </a:lnTo>
                  <a:lnTo>
                    <a:pt x="1330" y="91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EF64BB7A-B72F-18C2-3AD4-6B8AE3A0F0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84675" y="2344841"/>
            <a:ext cx="1338890" cy="777738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902780A6-C9CB-A6E4-B05D-88D9B4FD14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97188" y="620496"/>
            <a:ext cx="1341719" cy="779381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65022C4C-55B3-D484-CA91-B649267FDC4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88749" y="4288357"/>
            <a:ext cx="1319170" cy="775982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72C17D6E-A148-A705-825F-E0279BBE27A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27518" y="4052854"/>
            <a:ext cx="1136083" cy="764181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E620B9F8-A2B0-9B07-0D85-CBC86A2267E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7460" y="4034231"/>
            <a:ext cx="1693487" cy="796236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D8CCC209-B998-58DD-EFA1-E24D379EDAB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0582" y="4796162"/>
            <a:ext cx="1958653" cy="870512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4F117C1C-358B-B50D-978E-DEED0B5DC27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954487" y="873932"/>
            <a:ext cx="928894" cy="893167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442AF5E3-BB94-C751-833B-77FEACB8DE4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771856" y="1069845"/>
            <a:ext cx="928894" cy="893167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816397DD-B2CA-F182-834F-3F5DE990A1E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554692" y="1267896"/>
            <a:ext cx="928894" cy="893167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3B4EC004-DB9A-A326-1EEF-A86F2365E52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982592" y="4057484"/>
            <a:ext cx="928894" cy="893167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09938158-5C39-CBAC-BD06-6FAAA3FDC08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799961" y="4253397"/>
            <a:ext cx="928894" cy="893167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8B4B93BF-7790-E95B-B918-67C4E8EA989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582797" y="4451448"/>
            <a:ext cx="928894" cy="893167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AD8B054B-9FF7-4EC4-4284-E0EFB751012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973333" y="2451458"/>
            <a:ext cx="928894" cy="893167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F845C55C-0718-C00A-74B5-DA6D04BE85B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790702" y="2647371"/>
            <a:ext cx="928894" cy="893167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1E2A2106-C6C6-9036-4D9B-E84666ED5E0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573538" y="2845422"/>
            <a:ext cx="928894" cy="893167"/>
          </a:xfrm>
          <a:prstGeom prst="rect">
            <a:avLst/>
          </a:prstGeom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3CF83212-6005-ABB3-EC9C-3003994515AE}"/>
              </a:ext>
            </a:extLst>
          </p:cNvPr>
          <p:cNvSpPr txBox="1"/>
          <p:nvPr/>
        </p:nvSpPr>
        <p:spPr>
          <a:xfrm>
            <a:off x="4777263" y="6441194"/>
            <a:ext cx="22271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Hybrid Cloud </a:t>
            </a:r>
            <a:r>
              <a:rPr lang="de-DE" dirty="0" err="1"/>
              <a:t>Strategy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7651345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extBox 72">
            <a:extLst>
              <a:ext uri="{FF2B5EF4-FFF2-40B4-BE49-F238E27FC236}">
                <a16:creationId xmlns:a16="http://schemas.microsoft.com/office/drawing/2014/main" id="{C49623B3-0876-F0A7-6B92-EFDE8B94B9A9}"/>
              </a:ext>
            </a:extLst>
          </p:cNvPr>
          <p:cNvSpPr txBox="1"/>
          <p:nvPr/>
        </p:nvSpPr>
        <p:spPr>
          <a:xfrm>
            <a:off x="6486391" y="3825372"/>
            <a:ext cx="5415650" cy="34470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Purpose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/>
              <a:t>Handles </a:t>
            </a:r>
            <a:r>
              <a:rPr lang="de-DE" sz="1400" dirty="0" err="1"/>
              <a:t>user</a:t>
            </a:r>
            <a:r>
              <a:rPr lang="de-DE" sz="1400" dirty="0"/>
              <a:t> </a:t>
            </a:r>
            <a:r>
              <a:rPr lang="de-DE" sz="1400" dirty="0" err="1"/>
              <a:t>request</a:t>
            </a:r>
            <a:r>
              <a:rPr lang="de-DE" sz="1400" dirty="0"/>
              <a:t> (</a:t>
            </a:r>
            <a:r>
              <a:rPr lang="de-DE" sz="1400" dirty="0" err="1"/>
              <a:t>interaction</a:t>
            </a:r>
            <a:r>
              <a:rPr lang="de-DE" sz="1400" dirty="0"/>
              <a:t> &amp; </a:t>
            </a:r>
            <a:r>
              <a:rPr lang="de-DE" sz="1400" dirty="0" err="1"/>
              <a:t>context</a:t>
            </a:r>
            <a:r>
              <a:rPr lang="de-DE" sz="1400" dirty="0"/>
              <a:t> </a:t>
            </a:r>
            <a:r>
              <a:rPr lang="de-DE" sz="1400" dirty="0" err="1"/>
              <a:t>management</a:t>
            </a:r>
            <a:r>
              <a:rPr lang="de-DE" sz="1400" dirty="0"/>
              <a:t>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/>
              <a:t>Orchestrates</a:t>
            </a:r>
            <a:r>
              <a:rPr lang="de-DE" sz="1400" dirty="0"/>
              <a:t> </a:t>
            </a:r>
            <a:r>
              <a:rPr lang="de-DE" sz="1400" dirty="0" err="1"/>
              <a:t>the</a:t>
            </a:r>
            <a:r>
              <a:rPr lang="de-DE" sz="1400" dirty="0"/>
              <a:t> </a:t>
            </a:r>
            <a:r>
              <a:rPr lang="de-DE" sz="1400" dirty="0" err="1"/>
              <a:t>interconnection</a:t>
            </a:r>
            <a:r>
              <a:rPr lang="de-DE" sz="1400" dirty="0"/>
              <a:t> </a:t>
            </a:r>
            <a:r>
              <a:rPr lang="de-DE" sz="1400" dirty="0" err="1"/>
              <a:t>between</a:t>
            </a:r>
            <a:r>
              <a:rPr lang="de-DE" sz="1400" dirty="0"/>
              <a:t> </a:t>
            </a:r>
            <a:r>
              <a:rPr lang="de-DE" sz="1400" dirty="0" err="1"/>
              <a:t>the</a:t>
            </a:r>
            <a:r>
              <a:rPr lang="de-DE" sz="1400" dirty="0"/>
              <a:t> Cloud Servic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/>
              <a:t>API Calls </a:t>
            </a:r>
            <a:r>
              <a:rPr lang="de-DE" sz="1400" dirty="0" err="1"/>
              <a:t>to</a:t>
            </a:r>
            <a:r>
              <a:rPr lang="de-DE" sz="1400" dirty="0"/>
              <a:t> external </a:t>
            </a:r>
            <a:r>
              <a:rPr lang="de-DE" sz="1400" dirty="0" err="1"/>
              <a:t>models</a:t>
            </a:r>
            <a:endParaRPr lang="de-DE" sz="14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/>
              <a:t>Hosting </a:t>
            </a:r>
            <a:r>
              <a:rPr lang="de-DE" sz="1400" dirty="0" err="1"/>
              <a:t>of</a:t>
            </a:r>
            <a:r>
              <a:rPr lang="de-DE" sz="1400" dirty="0"/>
              <a:t> own </a:t>
            </a:r>
            <a:r>
              <a:rPr lang="de-DE" sz="1400" dirty="0" err="1"/>
              <a:t>small</a:t>
            </a:r>
            <a:r>
              <a:rPr lang="de-DE" sz="1400" dirty="0"/>
              <a:t> </a:t>
            </a:r>
            <a:r>
              <a:rPr lang="de-DE" sz="1400" dirty="0" err="1"/>
              <a:t>models</a:t>
            </a:r>
            <a:endParaRPr lang="de-DE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sz="1400" dirty="0" err="1"/>
              <a:t>Programming</a:t>
            </a:r>
            <a:r>
              <a:rPr lang="de-AT" sz="1400" dirty="0"/>
              <a:t> Language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AT" sz="1400" dirty="0"/>
              <a:t>Pyth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sz="1400" dirty="0" err="1"/>
              <a:t>Operations</a:t>
            </a:r>
            <a:r>
              <a:rPr lang="de-AT" sz="1400" dirty="0"/>
              <a:t>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AT" sz="1400" dirty="0"/>
              <a:t>On ECP in Docker Contain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sz="1400" dirty="0"/>
              <a:t>Version Control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AT" sz="1400" dirty="0" err="1"/>
              <a:t>Bitbucket</a:t>
            </a:r>
            <a:endParaRPr lang="de-AT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sz="1400" dirty="0" err="1"/>
              <a:t>Deployment</a:t>
            </a:r>
            <a:r>
              <a:rPr lang="de-AT" sz="1400" dirty="0"/>
              <a:t>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AT" sz="1400" dirty="0"/>
              <a:t>CI/CD Pipeline via Jenkin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e-AT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AT" dirty="0"/>
          </a:p>
        </p:txBody>
      </p:sp>
      <p:sp>
        <p:nvSpPr>
          <p:cNvPr id="24" name="Google Shape;2760;p31">
            <a:extLst>
              <a:ext uri="{FF2B5EF4-FFF2-40B4-BE49-F238E27FC236}">
                <a16:creationId xmlns:a16="http://schemas.microsoft.com/office/drawing/2014/main" id="{91DE5DFA-8B47-51CB-32BC-1D718683A953}"/>
              </a:ext>
            </a:extLst>
          </p:cNvPr>
          <p:cNvSpPr/>
          <p:nvPr/>
        </p:nvSpPr>
        <p:spPr>
          <a:xfrm>
            <a:off x="9806255" y="2263258"/>
            <a:ext cx="110108" cy="79814"/>
          </a:xfrm>
          <a:custGeom>
            <a:avLst/>
            <a:gdLst/>
            <a:ahLst/>
            <a:cxnLst/>
            <a:rect l="l" t="t" r="r" b="b"/>
            <a:pathLst>
              <a:path w="3453" h="2503" extrusionOk="0">
                <a:moveTo>
                  <a:pt x="0" y="0"/>
                </a:moveTo>
                <a:lnTo>
                  <a:pt x="855" y="1267"/>
                </a:lnTo>
                <a:lnTo>
                  <a:pt x="1710" y="2502"/>
                </a:lnTo>
                <a:lnTo>
                  <a:pt x="2597" y="1267"/>
                </a:lnTo>
                <a:lnTo>
                  <a:pt x="3452" y="0"/>
                </a:lnTo>
                <a:close/>
              </a:path>
            </a:pathLst>
          </a:custGeom>
          <a:solidFill>
            <a:srgbClr val="C4C4C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" name="Google Shape;2761;p31">
            <a:extLst>
              <a:ext uri="{FF2B5EF4-FFF2-40B4-BE49-F238E27FC236}">
                <a16:creationId xmlns:a16="http://schemas.microsoft.com/office/drawing/2014/main" id="{34293B7F-05F7-7BEC-A43C-B9F322B33BEE}"/>
              </a:ext>
            </a:extLst>
          </p:cNvPr>
          <p:cNvSpPr/>
          <p:nvPr/>
        </p:nvSpPr>
        <p:spPr>
          <a:xfrm>
            <a:off x="9410372" y="2391510"/>
            <a:ext cx="476686" cy="8099"/>
          </a:xfrm>
          <a:custGeom>
            <a:avLst/>
            <a:gdLst/>
            <a:ahLst/>
            <a:cxnLst/>
            <a:rect l="l" t="t" r="r" b="b"/>
            <a:pathLst>
              <a:path w="14949" h="254" extrusionOk="0">
                <a:moveTo>
                  <a:pt x="1" y="0"/>
                </a:moveTo>
                <a:lnTo>
                  <a:pt x="1" y="254"/>
                </a:lnTo>
                <a:lnTo>
                  <a:pt x="14949" y="254"/>
                </a:lnTo>
                <a:lnTo>
                  <a:pt x="14949" y="0"/>
                </a:lnTo>
                <a:close/>
              </a:path>
            </a:pathLst>
          </a:custGeom>
          <a:solidFill>
            <a:srgbClr val="C4C4C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" name="Google Shape;2762;p31">
            <a:extLst>
              <a:ext uri="{FF2B5EF4-FFF2-40B4-BE49-F238E27FC236}">
                <a16:creationId xmlns:a16="http://schemas.microsoft.com/office/drawing/2014/main" id="{573CA9F2-6349-E482-59F7-3056677C4B32}"/>
              </a:ext>
            </a:extLst>
          </p:cNvPr>
          <p:cNvSpPr/>
          <p:nvPr/>
        </p:nvSpPr>
        <p:spPr>
          <a:xfrm>
            <a:off x="8530819" y="3257957"/>
            <a:ext cx="8099" cy="476654"/>
          </a:xfrm>
          <a:custGeom>
            <a:avLst/>
            <a:gdLst/>
            <a:ahLst/>
            <a:cxnLst/>
            <a:rect l="l" t="t" r="r" b="b"/>
            <a:pathLst>
              <a:path w="254" h="14948" extrusionOk="0">
                <a:moveTo>
                  <a:pt x="0" y="0"/>
                </a:moveTo>
                <a:lnTo>
                  <a:pt x="0" y="14948"/>
                </a:lnTo>
                <a:lnTo>
                  <a:pt x="253" y="14948"/>
                </a:lnTo>
                <a:lnTo>
                  <a:pt x="253" y="0"/>
                </a:lnTo>
                <a:close/>
              </a:path>
            </a:pathLst>
          </a:custGeom>
          <a:solidFill>
            <a:srgbClr val="C4C4C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" name="Google Shape;2763;p31">
            <a:extLst>
              <a:ext uri="{FF2B5EF4-FFF2-40B4-BE49-F238E27FC236}">
                <a16:creationId xmlns:a16="http://schemas.microsoft.com/office/drawing/2014/main" id="{7608E323-69A8-86C3-B9D5-E7D85826409B}"/>
              </a:ext>
            </a:extLst>
          </p:cNvPr>
          <p:cNvSpPr/>
          <p:nvPr/>
        </p:nvSpPr>
        <p:spPr>
          <a:xfrm>
            <a:off x="7188706" y="2391510"/>
            <a:ext cx="476686" cy="8099"/>
          </a:xfrm>
          <a:custGeom>
            <a:avLst/>
            <a:gdLst/>
            <a:ahLst/>
            <a:cxnLst/>
            <a:rect l="l" t="t" r="r" b="b"/>
            <a:pathLst>
              <a:path w="14949" h="254" extrusionOk="0">
                <a:moveTo>
                  <a:pt x="1" y="0"/>
                </a:moveTo>
                <a:lnTo>
                  <a:pt x="1" y="254"/>
                </a:lnTo>
                <a:lnTo>
                  <a:pt x="14949" y="254"/>
                </a:lnTo>
                <a:lnTo>
                  <a:pt x="14949" y="0"/>
                </a:lnTo>
                <a:close/>
              </a:path>
            </a:pathLst>
          </a:custGeom>
          <a:solidFill>
            <a:srgbClr val="969797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" name="Google Shape;2764;p31">
            <a:extLst>
              <a:ext uri="{FF2B5EF4-FFF2-40B4-BE49-F238E27FC236}">
                <a16:creationId xmlns:a16="http://schemas.microsoft.com/office/drawing/2014/main" id="{40743E79-0EF0-8AC4-F1CA-F0ABA39B3ACC}"/>
              </a:ext>
            </a:extLst>
          </p:cNvPr>
          <p:cNvSpPr/>
          <p:nvPr/>
        </p:nvSpPr>
        <p:spPr>
          <a:xfrm>
            <a:off x="8534836" y="2390489"/>
            <a:ext cx="877608" cy="877576"/>
          </a:xfrm>
          <a:custGeom>
            <a:avLst/>
            <a:gdLst/>
            <a:ahLst/>
            <a:cxnLst/>
            <a:rect l="l" t="t" r="r" b="b"/>
            <a:pathLst>
              <a:path w="27522" h="27521" extrusionOk="0">
                <a:moveTo>
                  <a:pt x="23056" y="1"/>
                </a:moveTo>
                <a:lnTo>
                  <a:pt x="23056" y="32"/>
                </a:lnTo>
                <a:cubicBezTo>
                  <a:pt x="23056" y="12763"/>
                  <a:pt x="12732" y="23087"/>
                  <a:pt x="1" y="23087"/>
                </a:cubicBezTo>
                <a:lnTo>
                  <a:pt x="1" y="27521"/>
                </a:lnTo>
                <a:cubicBezTo>
                  <a:pt x="15202" y="27521"/>
                  <a:pt x="27521" y="15202"/>
                  <a:pt x="27521" y="1"/>
                </a:cubicBezTo>
                <a:close/>
              </a:path>
            </a:pathLst>
          </a:custGeom>
          <a:solidFill>
            <a:srgbClr val="22283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" name="Google Shape;2765;p31">
            <a:extLst>
              <a:ext uri="{FF2B5EF4-FFF2-40B4-BE49-F238E27FC236}">
                <a16:creationId xmlns:a16="http://schemas.microsoft.com/office/drawing/2014/main" id="{8D046679-152B-EDCB-AFF3-EDE7E90813D4}"/>
              </a:ext>
            </a:extLst>
          </p:cNvPr>
          <p:cNvSpPr/>
          <p:nvPr/>
        </p:nvSpPr>
        <p:spPr>
          <a:xfrm>
            <a:off x="7657292" y="2390489"/>
            <a:ext cx="877576" cy="877576"/>
          </a:xfrm>
          <a:custGeom>
            <a:avLst/>
            <a:gdLst/>
            <a:ahLst/>
            <a:cxnLst/>
            <a:rect l="l" t="t" r="r" b="b"/>
            <a:pathLst>
              <a:path w="27521" h="27521" extrusionOk="0">
                <a:moveTo>
                  <a:pt x="0" y="1"/>
                </a:moveTo>
                <a:cubicBezTo>
                  <a:pt x="0" y="15202"/>
                  <a:pt x="12320" y="27521"/>
                  <a:pt x="27521" y="27521"/>
                </a:cubicBezTo>
                <a:lnTo>
                  <a:pt x="27521" y="23087"/>
                </a:lnTo>
                <a:cubicBezTo>
                  <a:pt x="14790" y="23087"/>
                  <a:pt x="4466" y="12763"/>
                  <a:pt x="4466" y="32"/>
                </a:cubicBezTo>
                <a:lnTo>
                  <a:pt x="4466" y="1"/>
                </a:lnTo>
                <a:close/>
              </a:path>
            </a:pathLst>
          </a:custGeom>
          <a:solidFill>
            <a:srgbClr val="30475E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1" name="Google Shape;2766;p31">
            <a:extLst>
              <a:ext uri="{FF2B5EF4-FFF2-40B4-BE49-F238E27FC236}">
                <a16:creationId xmlns:a16="http://schemas.microsoft.com/office/drawing/2014/main" id="{11C599A9-FFAC-3ED2-96B3-042E05235E4C}"/>
              </a:ext>
            </a:extLst>
          </p:cNvPr>
          <p:cNvSpPr/>
          <p:nvPr/>
        </p:nvSpPr>
        <p:spPr>
          <a:xfrm>
            <a:off x="7657292" y="1514955"/>
            <a:ext cx="1755152" cy="877576"/>
          </a:xfrm>
          <a:custGeom>
            <a:avLst/>
            <a:gdLst/>
            <a:ahLst/>
            <a:cxnLst/>
            <a:rect l="l" t="t" r="r" b="b"/>
            <a:pathLst>
              <a:path w="55042" h="27521" extrusionOk="0">
                <a:moveTo>
                  <a:pt x="27521" y="1"/>
                </a:moveTo>
                <a:cubicBezTo>
                  <a:pt x="12320" y="1"/>
                  <a:pt x="0" y="12320"/>
                  <a:pt x="0" y="27521"/>
                </a:cubicBezTo>
                <a:lnTo>
                  <a:pt x="4466" y="27521"/>
                </a:lnTo>
                <a:lnTo>
                  <a:pt x="4466" y="27489"/>
                </a:lnTo>
                <a:cubicBezTo>
                  <a:pt x="4466" y="14758"/>
                  <a:pt x="14790" y="4434"/>
                  <a:pt x="27521" y="4434"/>
                </a:cubicBezTo>
                <a:cubicBezTo>
                  <a:pt x="40252" y="4434"/>
                  <a:pt x="50576" y="14758"/>
                  <a:pt x="50576" y="27489"/>
                </a:cubicBezTo>
                <a:lnTo>
                  <a:pt x="50576" y="27521"/>
                </a:lnTo>
                <a:lnTo>
                  <a:pt x="55041" y="27521"/>
                </a:lnTo>
                <a:cubicBezTo>
                  <a:pt x="55041" y="12320"/>
                  <a:pt x="42722" y="1"/>
                  <a:pt x="27521" y="1"/>
                </a:cubicBezTo>
                <a:close/>
              </a:path>
            </a:pathLst>
          </a:custGeom>
          <a:solidFill>
            <a:srgbClr val="F2A365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" name="Google Shape;2767;p31">
            <a:extLst>
              <a:ext uri="{FF2B5EF4-FFF2-40B4-BE49-F238E27FC236}">
                <a16:creationId xmlns:a16="http://schemas.microsoft.com/office/drawing/2014/main" id="{65DD153C-43C4-91AA-825B-2D4681568252}"/>
              </a:ext>
            </a:extLst>
          </p:cNvPr>
          <p:cNvSpPr/>
          <p:nvPr/>
        </p:nvSpPr>
        <p:spPr>
          <a:xfrm>
            <a:off x="7415936" y="1272610"/>
            <a:ext cx="2237865" cy="1118932"/>
          </a:xfrm>
          <a:custGeom>
            <a:avLst/>
            <a:gdLst/>
            <a:ahLst/>
            <a:cxnLst/>
            <a:rect l="l" t="t" r="r" b="b"/>
            <a:pathLst>
              <a:path w="70180" h="35090" extrusionOk="0">
                <a:moveTo>
                  <a:pt x="35090" y="0"/>
                </a:moveTo>
                <a:cubicBezTo>
                  <a:pt x="15740" y="0"/>
                  <a:pt x="0" y="15740"/>
                  <a:pt x="0" y="35089"/>
                </a:cubicBezTo>
                <a:lnTo>
                  <a:pt x="1457" y="35089"/>
                </a:lnTo>
                <a:cubicBezTo>
                  <a:pt x="1457" y="16563"/>
                  <a:pt x="16563" y="1457"/>
                  <a:pt x="35090" y="1457"/>
                </a:cubicBezTo>
                <a:cubicBezTo>
                  <a:pt x="53648" y="1457"/>
                  <a:pt x="68722" y="16563"/>
                  <a:pt x="68722" y="35089"/>
                </a:cubicBezTo>
                <a:lnTo>
                  <a:pt x="70179" y="35089"/>
                </a:lnTo>
                <a:cubicBezTo>
                  <a:pt x="70179" y="15740"/>
                  <a:pt x="54440" y="0"/>
                  <a:pt x="35090" y="0"/>
                </a:cubicBezTo>
                <a:close/>
              </a:path>
            </a:pathLst>
          </a:custGeom>
          <a:solidFill>
            <a:srgbClr val="F2A365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" name="Google Shape;2768;p31">
            <a:extLst>
              <a:ext uri="{FF2B5EF4-FFF2-40B4-BE49-F238E27FC236}">
                <a16:creationId xmlns:a16="http://schemas.microsoft.com/office/drawing/2014/main" id="{C8A8D329-2B3B-2231-FC5A-C9ED6F2E9D62}"/>
              </a:ext>
            </a:extLst>
          </p:cNvPr>
          <p:cNvSpPr/>
          <p:nvPr/>
        </p:nvSpPr>
        <p:spPr>
          <a:xfrm>
            <a:off x="7436121" y="2391510"/>
            <a:ext cx="1098748" cy="1099736"/>
          </a:xfrm>
          <a:custGeom>
            <a:avLst/>
            <a:gdLst/>
            <a:ahLst/>
            <a:cxnLst/>
            <a:rect l="l" t="t" r="r" b="b"/>
            <a:pathLst>
              <a:path w="34457" h="34488" extrusionOk="0">
                <a:moveTo>
                  <a:pt x="1" y="0"/>
                </a:moveTo>
                <a:cubicBezTo>
                  <a:pt x="1" y="19002"/>
                  <a:pt x="15455" y="34488"/>
                  <a:pt x="34457" y="34488"/>
                </a:cubicBezTo>
                <a:lnTo>
                  <a:pt x="34457" y="34234"/>
                </a:lnTo>
                <a:cubicBezTo>
                  <a:pt x="15582" y="34234"/>
                  <a:pt x="223" y="18875"/>
                  <a:pt x="223" y="0"/>
                </a:cubicBezTo>
                <a:close/>
              </a:path>
            </a:pathLst>
          </a:custGeom>
          <a:solidFill>
            <a:srgbClr val="C4C4C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" name="Google Shape;2769;p31">
            <a:extLst>
              <a:ext uri="{FF2B5EF4-FFF2-40B4-BE49-F238E27FC236}">
                <a16:creationId xmlns:a16="http://schemas.microsoft.com/office/drawing/2014/main" id="{387F8615-8BCF-73C0-00A7-C66EA9207EB7}"/>
              </a:ext>
            </a:extLst>
          </p:cNvPr>
          <p:cNvSpPr/>
          <p:nvPr/>
        </p:nvSpPr>
        <p:spPr>
          <a:xfrm>
            <a:off x="8534836" y="2391510"/>
            <a:ext cx="1099768" cy="1099736"/>
          </a:xfrm>
          <a:custGeom>
            <a:avLst/>
            <a:gdLst/>
            <a:ahLst/>
            <a:cxnLst/>
            <a:rect l="l" t="t" r="r" b="b"/>
            <a:pathLst>
              <a:path w="34489" h="34488" extrusionOk="0">
                <a:moveTo>
                  <a:pt x="34235" y="0"/>
                </a:moveTo>
                <a:cubicBezTo>
                  <a:pt x="34235" y="18875"/>
                  <a:pt x="18876" y="34234"/>
                  <a:pt x="1" y="34234"/>
                </a:cubicBezTo>
                <a:lnTo>
                  <a:pt x="1" y="34488"/>
                </a:lnTo>
                <a:cubicBezTo>
                  <a:pt x="19002" y="34488"/>
                  <a:pt x="34488" y="19002"/>
                  <a:pt x="34488" y="0"/>
                </a:cubicBezTo>
                <a:close/>
              </a:path>
            </a:pathLst>
          </a:custGeom>
          <a:solidFill>
            <a:srgbClr val="C4C4C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" name="Google Shape;2770;p31">
            <a:extLst>
              <a:ext uri="{FF2B5EF4-FFF2-40B4-BE49-F238E27FC236}">
                <a16:creationId xmlns:a16="http://schemas.microsoft.com/office/drawing/2014/main" id="{A55F1D7F-1A37-D269-B317-1A8EA83ECD5D}"/>
              </a:ext>
            </a:extLst>
          </p:cNvPr>
          <p:cNvSpPr/>
          <p:nvPr/>
        </p:nvSpPr>
        <p:spPr>
          <a:xfrm>
            <a:off x="7202864" y="1059537"/>
            <a:ext cx="2664998" cy="1332004"/>
          </a:xfrm>
          <a:custGeom>
            <a:avLst/>
            <a:gdLst/>
            <a:ahLst/>
            <a:cxnLst/>
            <a:rect l="l" t="t" r="r" b="b"/>
            <a:pathLst>
              <a:path w="83575" h="41772" extrusionOk="0">
                <a:moveTo>
                  <a:pt x="41772" y="0"/>
                </a:moveTo>
                <a:cubicBezTo>
                  <a:pt x="18748" y="0"/>
                  <a:pt x="0" y="18748"/>
                  <a:pt x="0" y="41771"/>
                </a:cubicBezTo>
                <a:lnTo>
                  <a:pt x="222" y="41771"/>
                </a:lnTo>
                <a:cubicBezTo>
                  <a:pt x="222" y="18875"/>
                  <a:pt x="18875" y="222"/>
                  <a:pt x="41772" y="222"/>
                </a:cubicBezTo>
                <a:cubicBezTo>
                  <a:pt x="64669" y="222"/>
                  <a:pt x="83322" y="18875"/>
                  <a:pt x="83322" y="41771"/>
                </a:cubicBezTo>
                <a:lnTo>
                  <a:pt x="83575" y="41771"/>
                </a:lnTo>
                <a:cubicBezTo>
                  <a:pt x="83575" y="18748"/>
                  <a:pt x="64827" y="0"/>
                  <a:pt x="41772" y="0"/>
                </a:cubicBezTo>
                <a:close/>
              </a:path>
            </a:pathLst>
          </a:custGeom>
          <a:solidFill>
            <a:srgbClr val="C4C4C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" name="Google Shape;2771;p31">
            <a:extLst>
              <a:ext uri="{FF2B5EF4-FFF2-40B4-BE49-F238E27FC236}">
                <a16:creationId xmlns:a16="http://schemas.microsoft.com/office/drawing/2014/main" id="{979BF108-8F07-4C4A-6739-9B832219FEA8}"/>
              </a:ext>
            </a:extLst>
          </p:cNvPr>
          <p:cNvSpPr/>
          <p:nvPr/>
        </p:nvSpPr>
        <p:spPr>
          <a:xfrm>
            <a:off x="7182647" y="2391510"/>
            <a:ext cx="1352221" cy="1352189"/>
          </a:xfrm>
          <a:custGeom>
            <a:avLst/>
            <a:gdLst/>
            <a:ahLst/>
            <a:cxnLst/>
            <a:rect l="l" t="t" r="r" b="b"/>
            <a:pathLst>
              <a:path w="42406" h="42405" extrusionOk="0">
                <a:moveTo>
                  <a:pt x="1" y="0"/>
                </a:moveTo>
                <a:cubicBezTo>
                  <a:pt x="1" y="23372"/>
                  <a:pt x="19034" y="42405"/>
                  <a:pt x="42406" y="42405"/>
                </a:cubicBezTo>
                <a:lnTo>
                  <a:pt x="42406" y="40948"/>
                </a:lnTo>
                <a:cubicBezTo>
                  <a:pt x="19826" y="40948"/>
                  <a:pt x="1489" y="22580"/>
                  <a:pt x="1489" y="0"/>
                </a:cubicBezTo>
                <a:close/>
              </a:path>
            </a:pathLst>
          </a:custGeom>
          <a:solidFill>
            <a:srgbClr val="30475E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2772;p31">
            <a:extLst>
              <a:ext uri="{FF2B5EF4-FFF2-40B4-BE49-F238E27FC236}">
                <a16:creationId xmlns:a16="http://schemas.microsoft.com/office/drawing/2014/main" id="{518CB229-5250-5A6F-3C76-554B3A5A1DF1}"/>
              </a:ext>
            </a:extLst>
          </p:cNvPr>
          <p:cNvSpPr/>
          <p:nvPr/>
        </p:nvSpPr>
        <p:spPr>
          <a:xfrm>
            <a:off x="8534836" y="2391510"/>
            <a:ext cx="1352221" cy="1352189"/>
          </a:xfrm>
          <a:custGeom>
            <a:avLst/>
            <a:gdLst/>
            <a:ahLst/>
            <a:cxnLst/>
            <a:rect l="l" t="t" r="r" b="b"/>
            <a:pathLst>
              <a:path w="42406" h="42405" extrusionOk="0">
                <a:moveTo>
                  <a:pt x="40949" y="0"/>
                </a:moveTo>
                <a:cubicBezTo>
                  <a:pt x="40949" y="22580"/>
                  <a:pt x="22581" y="40948"/>
                  <a:pt x="1" y="40948"/>
                </a:cubicBezTo>
                <a:lnTo>
                  <a:pt x="1" y="42405"/>
                </a:lnTo>
                <a:cubicBezTo>
                  <a:pt x="23373" y="42405"/>
                  <a:pt x="42406" y="23372"/>
                  <a:pt x="42406" y="0"/>
                </a:cubicBezTo>
                <a:close/>
              </a:path>
            </a:pathLst>
          </a:custGeom>
          <a:solidFill>
            <a:srgbClr val="22283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" name="Google Shape;2773;p31">
            <a:extLst>
              <a:ext uri="{FF2B5EF4-FFF2-40B4-BE49-F238E27FC236}">
                <a16:creationId xmlns:a16="http://schemas.microsoft.com/office/drawing/2014/main" id="{37CE5D23-6068-5525-F10E-D05C3C43396D}"/>
              </a:ext>
            </a:extLst>
          </p:cNvPr>
          <p:cNvSpPr/>
          <p:nvPr/>
        </p:nvSpPr>
        <p:spPr>
          <a:xfrm>
            <a:off x="7385643" y="2391510"/>
            <a:ext cx="110108" cy="79814"/>
          </a:xfrm>
          <a:custGeom>
            <a:avLst/>
            <a:gdLst/>
            <a:ahLst/>
            <a:cxnLst/>
            <a:rect l="l" t="t" r="r" b="b"/>
            <a:pathLst>
              <a:path w="3453" h="2503" extrusionOk="0">
                <a:moveTo>
                  <a:pt x="1742" y="0"/>
                </a:moveTo>
                <a:lnTo>
                  <a:pt x="855" y="1267"/>
                </a:lnTo>
                <a:lnTo>
                  <a:pt x="0" y="2502"/>
                </a:lnTo>
                <a:lnTo>
                  <a:pt x="3452" y="2502"/>
                </a:lnTo>
                <a:lnTo>
                  <a:pt x="2597" y="1267"/>
                </a:lnTo>
                <a:lnTo>
                  <a:pt x="1742" y="0"/>
                </a:lnTo>
                <a:close/>
              </a:path>
            </a:pathLst>
          </a:custGeom>
          <a:solidFill>
            <a:srgbClr val="C4C4C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9" name="Google Shape;2774;p31">
            <a:extLst>
              <a:ext uri="{FF2B5EF4-FFF2-40B4-BE49-F238E27FC236}">
                <a16:creationId xmlns:a16="http://schemas.microsoft.com/office/drawing/2014/main" id="{FA9B64E1-951B-B7E3-AF94-30D2B863CE5E}"/>
              </a:ext>
            </a:extLst>
          </p:cNvPr>
          <p:cNvSpPr/>
          <p:nvPr/>
        </p:nvSpPr>
        <p:spPr>
          <a:xfrm>
            <a:off x="8539907" y="3428619"/>
            <a:ext cx="78794" cy="111096"/>
          </a:xfrm>
          <a:custGeom>
            <a:avLst/>
            <a:gdLst/>
            <a:ahLst/>
            <a:cxnLst/>
            <a:rect l="l" t="t" r="r" b="b"/>
            <a:pathLst>
              <a:path w="2471" h="3484" extrusionOk="0">
                <a:moveTo>
                  <a:pt x="2470" y="0"/>
                </a:moveTo>
                <a:lnTo>
                  <a:pt x="1235" y="887"/>
                </a:lnTo>
                <a:lnTo>
                  <a:pt x="0" y="1742"/>
                </a:lnTo>
                <a:lnTo>
                  <a:pt x="1235" y="2597"/>
                </a:lnTo>
                <a:lnTo>
                  <a:pt x="2470" y="3484"/>
                </a:lnTo>
                <a:lnTo>
                  <a:pt x="2470" y="1742"/>
                </a:lnTo>
                <a:lnTo>
                  <a:pt x="2470" y="0"/>
                </a:lnTo>
                <a:close/>
              </a:path>
            </a:pathLst>
          </a:custGeom>
          <a:solidFill>
            <a:srgbClr val="C4C4C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0" name="Google Shape;2809;p31">
            <a:extLst>
              <a:ext uri="{FF2B5EF4-FFF2-40B4-BE49-F238E27FC236}">
                <a16:creationId xmlns:a16="http://schemas.microsoft.com/office/drawing/2014/main" id="{DC759DA2-DAC9-F18F-20FF-D17D43FAA1E1}"/>
              </a:ext>
            </a:extLst>
          </p:cNvPr>
          <p:cNvSpPr/>
          <p:nvPr/>
        </p:nvSpPr>
        <p:spPr>
          <a:xfrm>
            <a:off x="9804214" y="2346070"/>
            <a:ext cx="109119" cy="110108"/>
          </a:xfrm>
          <a:custGeom>
            <a:avLst/>
            <a:gdLst/>
            <a:ahLst/>
            <a:cxnLst/>
            <a:rect l="l" t="t" r="r" b="b"/>
            <a:pathLst>
              <a:path w="3422" h="3453" extrusionOk="0">
                <a:moveTo>
                  <a:pt x="1711" y="0"/>
                </a:moveTo>
                <a:cubicBezTo>
                  <a:pt x="761" y="0"/>
                  <a:pt x="1" y="792"/>
                  <a:pt x="1" y="1742"/>
                </a:cubicBezTo>
                <a:cubicBezTo>
                  <a:pt x="1" y="2692"/>
                  <a:pt x="761" y="3452"/>
                  <a:pt x="1711" y="3452"/>
                </a:cubicBezTo>
                <a:cubicBezTo>
                  <a:pt x="2661" y="3452"/>
                  <a:pt x="3421" y="2692"/>
                  <a:pt x="3421" y="1742"/>
                </a:cubicBezTo>
                <a:cubicBezTo>
                  <a:pt x="3421" y="792"/>
                  <a:pt x="2661" y="0"/>
                  <a:pt x="1711" y="0"/>
                </a:cubicBezTo>
                <a:close/>
              </a:path>
            </a:pathLst>
          </a:custGeom>
          <a:solidFill>
            <a:srgbClr val="C4C4C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5F80949-2D7B-C649-BDC8-1C498BA1E2F7}"/>
              </a:ext>
            </a:extLst>
          </p:cNvPr>
          <p:cNvSpPr txBox="1"/>
          <p:nvPr/>
        </p:nvSpPr>
        <p:spPr>
          <a:xfrm>
            <a:off x="7964392" y="2236090"/>
            <a:ext cx="12298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>
                <a:latin typeface="Fira Sans Medium"/>
              </a:rPr>
              <a:t>Orchestrator</a:t>
            </a:r>
            <a:endParaRPr lang="de-AT" sz="1400" dirty="0">
              <a:latin typeface="Fira Sans Medium"/>
            </a:endParaRPr>
          </a:p>
        </p:txBody>
      </p:sp>
      <p:sp>
        <p:nvSpPr>
          <p:cNvPr id="49" name="Google Shape;2760;p31">
            <a:extLst>
              <a:ext uri="{FF2B5EF4-FFF2-40B4-BE49-F238E27FC236}">
                <a16:creationId xmlns:a16="http://schemas.microsoft.com/office/drawing/2014/main" id="{DCD9E02D-B27A-ACF5-8C75-5AD809FD2458}"/>
              </a:ext>
            </a:extLst>
          </p:cNvPr>
          <p:cNvSpPr/>
          <p:nvPr/>
        </p:nvSpPr>
        <p:spPr>
          <a:xfrm>
            <a:off x="3765610" y="2415584"/>
            <a:ext cx="110108" cy="79814"/>
          </a:xfrm>
          <a:custGeom>
            <a:avLst/>
            <a:gdLst/>
            <a:ahLst/>
            <a:cxnLst/>
            <a:rect l="l" t="t" r="r" b="b"/>
            <a:pathLst>
              <a:path w="3453" h="2503" extrusionOk="0">
                <a:moveTo>
                  <a:pt x="0" y="0"/>
                </a:moveTo>
                <a:lnTo>
                  <a:pt x="855" y="1267"/>
                </a:lnTo>
                <a:lnTo>
                  <a:pt x="1710" y="2502"/>
                </a:lnTo>
                <a:lnTo>
                  <a:pt x="2597" y="1267"/>
                </a:lnTo>
                <a:lnTo>
                  <a:pt x="3452" y="0"/>
                </a:lnTo>
                <a:close/>
              </a:path>
            </a:pathLst>
          </a:custGeom>
          <a:solidFill>
            <a:srgbClr val="C4C4C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0" name="Google Shape;2761;p31">
            <a:extLst>
              <a:ext uri="{FF2B5EF4-FFF2-40B4-BE49-F238E27FC236}">
                <a16:creationId xmlns:a16="http://schemas.microsoft.com/office/drawing/2014/main" id="{759ABDB5-13D7-7A48-8245-52C85C91DE52}"/>
              </a:ext>
            </a:extLst>
          </p:cNvPr>
          <p:cNvSpPr/>
          <p:nvPr/>
        </p:nvSpPr>
        <p:spPr>
          <a:xfrm>
            <a:off x="3369727" y="2543836"/>
            <a:ext cx="476686" cy="8099"/>
          </a:xfrm>
          <a:custGeom>
            <a:avLst/>
            <a:gdLst/>
            <a:ahLst/>
            <a:cxnLst/>
            <a:rect l="l" t="t" r="r" b="b"/>
            <a:pathLst>
              <a:path w="14949" h="254" extrusionOk="0">
                <a:moveTo>
                  <a:pt x="1" y="0"/>
                </a:moveTo>
                <a:lnTo>
                  <a:pt x="1" y="254"/>
                </a:lnTo>
                <a:lnTo>
                  <a:pt x="14949" y="254"/>
                </a:lnTo>
                <a:lnTo>
                  <a:pt x="14949" y="0"/>
                </a:lnTo>
                <a:close/>
              </a:path>
            </a:pathLst>
          </a:custGeom>
          <a:solidFill>
            <a:srgbClr val="C4C4C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1" name="Google Shape;2762;p31">
            <a:extLst>
              <a:ext uri="{FF2B5EF4-FFF2-40B4-BE49-F238E27FC236}">
                <a16:creationId xmlns:a16="http://schemas.microsoft.com/office/drawing/2014/main" id="{C8FC3541-6D9B-0FDE-DEA4-907AF5218218}"/>
              </a:ext>
            </a:extLst>
          </p:cNvPr>
          <p:cNvSpPr/>
          <p:nvPr/>
        </p:nvSpPr>
        <p:spPr>
          <a:xfrm>
            <a:off x="2490174" y="3410283"/>
            <a:ext cx="8099" cy="476654"/>
          </a:xfrm>
          <a:custGeom>
            <a:avLst/>
            <a:gdLst/>
            <a:ahLst/>
            <a:cxnLst/>
            <a:rect l="l" t="t" r="r" b="b"/>
            <a:pathLst>
              <a:path w="254" h="14948" extrusionOk="0">
                <a:moveTo>
                  <a:pt x="0" y="0"/>
                </a:moveTo>
                <a:lnTo>
                  <a:pt x="0" y="14948"/>
                </a:lnTo>
                <a:lnTo>
                  <a:pt x="253" y="14948"/>
                </a:lnTo>
                <a:lnTo>
                  <a:pt x="253" y="0"/>
                </a:lnTo>
                <a:close/>
              </a:path>
            </a:pathLst>
          </a:custGeom>
          <a:solidFill>
            <a:srgbClr val="C4C4C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2" name="Google Shape;2763;p31">
            <a:extLst>
              <a:ext uri="{FF2B5EF4-FFF2-40B4-BE49-F238E27FC236}">
                <a16:creationId xmlns:a16="http://schemas.microsoft.com/office/drawing/2014/main" id="{EC8313DD-405C-1648-1691-D5F1E3DCF68A}"/>
              </a:ext>
            </a:extLst>
          </p:cNvPr>
          <p:cNvSpPr/>
          <p:nvPr/>
        </p:nvSpPr>
        <p:spPr>
          <a:xfrm>
            <a:off x="1148061" y="2543836"/>
            <a:ext cx="476686" cy="8099"/>
          </a:xfrm>
          <a:custGeom>
            <a:avLst/>
            <a:gdLst/>
            <a:ahLst/>
            <a:cxnLst/>
            <a:rect l="l" t="t" r="r" b="b"/>
            <a:pathLst>
              <a:path w="14949" h="254" extrusionOk="0">
                <a:moveTo>
                  <a:pt x="1" y="0"/>
                </a:moveTo>
                <a:lnTo>
                  <a:pt x="1" y="254"/>
                </a:lnTo>
                <a:lnTo>
                  <a:pt x="14949" y="254"/>
                </a:lnTo>
                <a:lnTo>
                  <a:pt x="14949" y="0"/>
                </a:lnTo>
                <a:close/>
              </a:path>
            </a:pathLst>
          </a:custGeom>
          <a:solidFill>
            <a:srgbClr val="969797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3" name="Google Shape;2764;p31">
            <a:extLst>
              <a:ext uri="{FF2B5EF4-FFF2-40B4-BE49-F238E27FC236}">
                <a16:creationId xmlns:a16="http://schemas.microsoft.com/office/drawing/2014/main" id="{3B6B48C5-D7FB-004E-E50C-A40B196B8007}"/>
              </a:ext>
            </a:extLst>
          </p:cNvPr>
          <p:cNvSpPr/>
          <p:nvPr/>
        </p:nvSpPr>
        <p:spPr>
          <a:xfrm>
            <a:off x="2494191" y="2542815"/>
            <a:ext cx="877608" cy="877576"/>
          </a:xfrm>
          <a:custGeom>
            <a:avLst/>
            <a:gdLst/>
            <a:ahLst/>
            <a:cxnLst/>
            <a:rect l="l" t="t" r="r" b="b"/>
            <a:pathLst>
              <a:path w="27522" h="27521" extrusionOk="0">
                <a:moveTo>
                  <a:pt x="23056" y="1"/>
                </a:moveTo>
                <a:lnTo>
                  <a:pt x="23056" y="32"/>
                </a:lnTo>
                <a:cubicBezTo>
                  <a:pt x="23056" y="12763"/>
                  <a:pt x="12732" y="23087"/>
                  <a:pt x="1" y="23087"/>
                </a:cubicBezTo>
                <a:lnTo>
                  <a:pt x="1" y="27521"/>
                </a:lnTo>
                <a:cubicBezTo>
                  <a:pt x="15202" y="27521"/>
                  <a:pt x="27521" y="15202"/>
                  <a:pt x="27521" y="1"/>
                </a:cubicBezTo>
                <a:close/>
              </a:path>
            </a:pathLst>
          </a:custGeom>
          <a:solidFill>
            <a:srgbClr val="22283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4" name="Google Shape;2765;p31">
            <a:extLst>
              <a:ext uri="{FF2B5EF4-FFF2-40B4-BE49-F238E27FC236}">
                <a16:creationId xmlns:a16="http://schemas.microsoft.com/office/drawing/2014/main" id="{E9091892-7DA7-6EF9-545C-E49D5A60EB68}"/>
              </a:ext>
            </a:extLst>
          </p:cNvPr>
          <p:cNvSpPr/>
          <p:nvPr/>
        </p:nvSpPr>
        <p:spPr>
          <a:xfrm>
            <a:off x="1616647" y="2542815"/>
            <a:ext cx="877576" cy="877576"/>
          </a:xfrm>
          <a:custGeom>
            <a:avLst/>
            <a:gdLst/>
            <a:ahLst/>
            <a:cxnLst/>
            <a:rect l="l" t="t" r="r" b="b"/>
            <a:pathLst>
              <a:path w="27521" h="27521" extrusionOk="0">
                <a:moveTo>
                  <a:pt x="0" y="1"/>
                </a:moveTo>
                <a:cubicBezTo>
                  <a:pt x="0" y="15202"/>
                  <a:pt x="12320" y="27521"/>
                  <a:pt x="27521" y="27521"/>
                </a:cubicBezTo>
                <a:lnTo>
                  <a:pt x="27521" y="23087"/>
                </a:lnTo>
                <a:cubicBezTo>
                  <a:pt x="14790" y="23087"/>
                  <a:pt x="4466" y="12763"/>
                  <a:pt x="4466" y="32"/>
                </a:cubicBezTo>
                <a:lnTo>
                  <a:pt x="4466" y="1"/>
                </a:lnTo>
                <a:close/>
              </a:path>
            </a:pathLst>
          </a:custGeom>
          <a:solidFill>
            <a:srgbClr val="30475E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5" name="Google Shape;2766;p31">
            <a:extLst>
              <a:ext uri="{FF2B5EF4-FFF2-40B4-BE49-F238E27FC236}">
                <a16:creationId xmlns:a16="http://schemas.microsoft.com/office/drawing/2014/main" id="{76B2F013-D551-1864-CA90-AB970A60E247}"/>
              </a:ext>
            </a:extLst>
          </p:cNvPr>
          <p:cNvSpPr/>
          <p:nvPr/>
        </p:nvSpPr>
        <p:spPr>
          <a:xfrm>
            <a:off x="1616647" y="1667281"/>
            <a:ext cx="1755152" cy="877576"/>
          </a:xfrm>
          <a:custGeom>
            <a:avLst/>
            <a:gdLst/>
            <a:ahLst/>
            <a:cxnLst/>
            <a:rect l="l" t="t" r="r" b="b"/>
            <a:pathLst>
              <a:path w="55042" h="27521" extrusionOk="0">
                <a:moveTo>
                  <a:pt x="27521" y="1"/>
                </a:moveTo>
                <a:cubicBezTo>
                  <a:pt x="12320" y="1"/>
                  <a:pt x="0" y="12320"/>
                  <a:pt x="0" y="27521"/>
                </a:cubicBezTo>
                <a:lnTo>
                  <a:pt x="4466" y="27521"/>
                </a:lnTo>
                <a:lnTo>
                  <a:pt x="4466" y="27489"/>
                </a:lnTo>
                <a:cubicBezTo>
                  <a:pt x="4466" y="14758"/>
                  <a:pt x="14790" y="4434"/>
                  <a:pt x="27521" y="4434"/>
                </a:cubicBezTo>
                <a:cubicBezTo>
                  <a:pt x="40252" y="4434"/>
                  <a:pt x="50576" y="14758"/>
                  <a:pt x="50576" y="27489"/>
                </a:cubicBezTo>
                <a:lnTo>
                  <a:pt x="50576" y="27521"/>
                </a:lnTo>
                <a:lnTo>
                  <a:pt x="55041" y="27521"/>
                </a:lnTo>
                <a:cubicBezTo>
                  <a:pt x="55041" y="12320"/>
                  <a:pt x="42722" y="1"/>
                  <a:pt x="27521" y="1"/>
                </a:cubicBezTo>
                <a:close/>
              </a:path>
            </a:pathLst>
          </a:custGeom>
          <a:solidFill>
            <a:srgbClr val="F2A365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6" name="Google Shape;2767;p31">
            <a:extLst>
              <a:ext uri="{FF2B5EF4-FFF2-40B4-BE49-F238E27FC236}">
                <a16:creationId xmlns:a16="http://schemas.microsoft.com/office/drawing/2014/main" id="{FB80E1FC-D60B-E8CA-81C6-BE747BEDC70B}"/>
              </a:ext>
            </a:extLst>
          </p:cNvPr>
          <p:cNvSpPr/>
          <p:nvPr/>
        </p:nvSpPr>
        <p:spPr>
          <a:xfrm>
            <a:off x="1375291" y="1424936"/>
            <a:ext cx="2237865" cy="1118932"/>
          </a:xfrm>
          <a:custGeom>
            <a:avLst/>
            <a:gdLst/>
            <a:ahLst/>
            <a:cxnLst/>
            <a:rect l="l" t="t" r="r" b="b"/>
            <a:pathLst>
              <a:path w="70180" h="35090" extrusionOk="0">
                <a:moveTo>
                  <a:pt x="35090" y="0"/>
                </a:moveTo>
                <a:cubicBezTo>
                  <a:pt x="15740" y="0"/>
                  <a:pt x="0" y="15740"/>
                  <a:pt x="0" y="35089"/>
                </a:cubicBezTo>
                <a:lnTo>
                  <a:pt x="1457" y="35089"/>
                </a:lnTo>
                <a:cubicBezTo>
                  <a:pt x="1457" y="16563"/>
                  <a:pt x="16563" y="1457"/>
                  <a:pt x="35090" y="1457"/>
                </a:cubicBezTo>
                <a:cubicBezTo>
                  <a:pt x="53648" y="1457"/>
                  <a:pt x="68722" y="16563"/>
                  <a:pt x="68722" y="35089"/>
                </a:cubicBezTo>
                <a:lnTo>
                  <a:pt x="70179" y="35089"/>
                </a:lnTo>
                <a:cubicBezTo>
                  <a:pt x="70179" y="15740"/>
                  <a:pt x="54440" y="0"/>
                  <a:pt x="35090" y="0"/>
                </a:cubicBezTo>
                <a:close/>
              </a:path>
            </a:pathLst>
          </a:custGeom>
          <a:solidFill>
            <a:srgbClr val="F2A365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7" name="Google Shape;2768;p31">
            <a:extLst>
              <a:ext uri="{FF2B5EF4-FFF2-40B4-BE49-F238E27FC236}">
                <a16:creationId xmlns:a16="http://schemas.microsoft.com/office/drawing/2014/main" id="{53746E1B-1F68-9D6E-9F58-14D3935077E7}"/>
              </a:ext>
            </a:extLst>
          </p:cNvPr>
          <p:cNvSpPr/>
          <p:nvPr/>
        </p:nvSpPr>
        <p:spPr>
          <a:xfrm>
            <a:off x="1395476" y="2543836"/>
            <a:ext cx="1098748" cy="1099736"/>
          </a:xfrm>
          <a:custGeom>
            <a:avLst/>
            <a:gdLst/>
            <a:ahLst/>
            <a:cxnLst/>
            <a:rect l="l" t="t" r="r" b="b"/>
            <a:pathLst>
              <a:path w="34457" h="34488" extrusionOk="0">
                <a:moveTo>
                  <a:pt x="1" y="0"/>
                </a:moveTo>
                <a:cubicBezTo>
                  <a:pt x="1" y="19002"/>
                  <a:pt x="15455" y="34488"/>
                  <a:pt x="34457" y="34488"/>
                </a:cubicBezTo>
                <a:lnTo>
                  <a:pt x="34457" y="34234"/>
                </a:lnTo>
                <a:cubicBezTo>
                  <a:pt x="15582" y="34234"/>
                  <a:pt x="223" y="18875"/>
                  <a:pt x="223" y="0"/>
                </a:cubicBezTo>
                <a:close/>
              </a:path>
            </a:pathLst>
          </a:custGeom>
          <a:solidFill>
            <a:srgbClr val="C4C4C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8" name="Google Shape;2769;p31">
            <a:extLst>
              <a:ext uri="{FF2B5EF4-FFF2-40B4-BE49-F238E27FC236}">
                <a16:creationId xmlns:a16="http://schemas.microsoft.com/office/drawing/2014/main" id="{7D7E8C13-CF32-D5AB-8FA2-8ADD0F5820B3}"/>
              </a:ext>
            </a:extLst>
          </p:cNvPr>
          <p:cNvSpPr/>
          <p:nvPr/>
        </p:nvSpPr>
        <p:spPr>
          <a:xfrm>
            <a:off x="2494191" y="2543836"/>
            <a:ext cx="1099768" cy="1099736"/>
          </a:xfrm>
          <a:custGeom>
            <a:avLst/>
            <a:gdLst/>
            <a:ahLst/>
            <a:cxnLst/>
            <a:rect l="l" t="t" r="r" b="b"/>
            <a:pathLst>
              <a:path w="34489" h="34488" extrusionOk="0">
                <a:moveTo>
                  <a:pt x="34235" y="0"/>
                </a:moveTo>
                <a:cubicBezTo>
                  <a:pt x="34235" y="18875"/>
                  <a:pt x="18876" y="34234"/>
                  <a:pt x="1" y="34234"/>
                </a:cubicBezTo>
                <a:lnTo>
                  <a:pt x="1" y="34488"/>
                </a:lnTo>
                <a:cubicBezTo>
                  <a:pt x="19002" y="34488"/>
                  <a:pt x="34488" y="19002"/>
                  <a:pt x="34488" y="0"/>
                </a:cubicBezTo>
                <a:close/>
              </a:path>
            </a:pathLst>
          </a:custGeom>
          <a:solidFill>
            <a:srgbClr val="C4C4C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9" name="Google Shape;2770;p31">
            <a:extLst>
              <a:ext uri="{FF2B5EF4-FFF2-40B4-BE49-F238E27FC236}">
                <a16:creationId xmlns:a16="http://schemas.microsoft.com/office/drawing/2014/main" id="{7902D1FF-75E4-F57E-6498-8CBF67E345CE}"/>
              </a:ext>
            </a:extLst>
          </p:cNvPr>
          <p:cNvSpPr/>
          <p:nvPr/>
        </p:nvSpPr>
        <p:spPr>
          <a:xfrm>
            <a:off x="1162219" y="1211863"/>
            <a:ext cx="2664998" cy="1332004"/>
          </a:xfrm>
          <a:custGeom>
            <a:avLst/>
            <a:gdLst/>
            <a:ahLst/>
            <a:cxnLst/>
            <a:rect l="l" t="t" r="r" b="b"/>
            <a:pathLst>
              <a:path w="83575" h="41772" extrusionOk="0">
                <a:moveTo>
                  <a:pt x="41772" y="0"/>
                </a:moveTo>
                <a:cubicBezTo>
                  <a:pt x="18748" y="0"/>
                  <a:pt x="0" y="18748"/>
                  <a:pt x="0" y="41771"/>
                </a:cubicBezTo>
                <a:lnTo>
                  <a:pt x="222" y="41771"/>
                </a:lnTo>
                <a:cubicBezTo>
                  <a:pt x="222" y="18875"/>
                  <a:pt x="18875" y="222"/>
                  <a:pt x="41772" y="222"/>
                </a:cubicBezTo>
                <a:cubicBezTo>
                  <a:pt x="64669" y="222"/>
                  <a:pt x="83322" y="18875"/>
                  <a:pt x="83322" y="41771"/>
                </a:cubicBezTo>
                <a:lnTo>
                  <a:pt x="83575" y="41771"/>
                </a:lnTo>
                <a:cubicBezTo>
                  <a:pt x="83575" y="18748"/>
                  <a:pt x="64827" y="0"/>
                  <a:pt x="41772" y="0"/>
                </a:cubicBezTo>
                <a:close/>
              </a:path>
            </a:pathLst>
          </a:custGeom>
          <a:solidFill>
            <a:srgbClr val="C4C4C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0" name="Google Shape;2771;p31">
            <a:extLst>
              <a:ext uri="{FF2B5EF4-FFF2-40B4-BE49-F238E27FC236}">
                <a16:creationId xmlns:a16="http://schemas.microsoft.com/office/drawing/2014/main" id="{BD82F6CB-DF99-129B-AB95-0BE8E7763354}"/>
              </a:ext>
            </a:extLst>
          </p:cNvPr>
          <p:cNvSpPr/>
          <p:nvPr/>
        </p:nvSpPr>
        <p:spPr>
          <a:xfrm>
            <a:off x="1142002" y="2543836"/>
            <a:ext cx="1352221" cy="1352189"/>
          </a:xfrm>
          <a:custGeom>
            <a:avLst/>
            <a:gdLst/>
            <a:ahLst/>
            <a:cxnLst/>
            <a:rect l="l" t="t" r="r" b="b"/>
            <a:pathLst>
              <a:path w="42406" h="42405" extrusionOk="0">
                <a:moveTo>
                  <a:pt x="1" y="0"/>
                </a:moveTo>
                <a:cubicBezTo>
                  <a:pt x="1" y="23372"/>
                  <a:pt x="19034" y="42405"/>
                  <a:pt x="42406" y="42405"/>
                </a:cubicBezTo>
                <a:lnTo>
                  <a:pt x="42406" y="40948"/>
                </a:lnTo>
                <a:cubicBezTo>
                  <a:pt x="19826" y="40948"/>
                  <a:pt x="1489" y="22580"/>
                  <a:pt x="1489" y="0"/>
                </a:cubicBezTo>
                <a:close/>
              </a:path>
            </a:pathLst>
          </a:custGeom>
          <a:solidFill>
            <a:srgbClr val="30475E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" name="Google Shape;2772;p31">
            <a:extLst>
              <a:ext uri="{FF2B5EF4-FFF2-40B4-BE49-F238E27FC236}">
                <a16:creationId xmlns:a16="http://schemas.microsoft.com/office/drawing/2014/main" id="{8102274B-DF93-59F1-39A2-2524B2887EC0}"/>
              </a:ext>
            </a:extLst>
          </p:cNvPr>
          <p:cNvSpPr/>
          <p:nvPr/>
        </p:nvSpPr>
        <p:spPr>
          <a:xfrm>
            <a:off x="2494191" y="2543836"/>
            <a:ext cx="1352221" cy="1352189"/>
          </a:xfrm>
          <a:custGeom>
            <a:avLst/>
            <a:gdLst/>
            <a:ahLst/>
            <a:cxnLst/>
            <a:rect l="l" t="t" r="r" b="b"/>
            <a:pathLst>
              <a:path w="42406" h="42405" extrusionOk="0">
                <a:moveTo>
                  <a:pt x="40949" y="0"/>
                </a:moveTo>
                <a:cubicBezTo>
                  <a:pt x="40949" y="22580"/>
                  <a:pt x="22581" y="40948"/>
                  <a:pt x="1" y="40948"/>
                </a:cubicBezTo>
                <a:lnTo>
                  <a:pt x="1" y="42405"/>
                </a:lnTo>
                <a:cubicBezTo>
                  <a:pt x="23373" y="42405"/>
                  <a:pt x="42406" y="23372"/>
                  <a:pt x="42406" y="0"/>
                </a:cubicBezTo>
                <a:close/>
              </a:path>
            </a:pathLst>
          </a:custGeom>
          <a:solidFill>
            <a:srgbClr val="22283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2" name="Google Shape;2773;p31">
            <a:extLst>
              <a:ext uri="{FF2B5EF4-FFF2-40B4-BE49-F238E27FC236}">
                <a16:creationId xmlns:a16="http://schemas.microsoft.com/office/drawing/2014/main" id="{9A85E5DB-3A5F-656E-C207-C52F6B969C78}"/>
              </a:ext>
            </a:extLst>
          </p:cNvPr>
          <p:cNvSpPr/>
          <p:nvPr/>
        </p:nvSpPr>
        <p:spPr>
          <a:xfrm>
            <a:off x="1344998" y="2543836"/>
            <a:ext cx="110108" cy="79814"/>
          </a:xfrm>
          <a:custGeom>
            <a:avLst/>
            <a:gdLst/>
            <a:ahLst/>
            <a:cxnLst/>
            <a:rect l="l" t="t" r="r" b="b"/>
            <a:pathLst>
              <a:path w="3453" h="2503" extrusionOk="0">
                <a:moveTo>
                  <a:pt x="1742" y="0"/>
                </a:moveTo>
                <a:lnTo>
                  <a:pt x="855" y="1267"/>
                </a:lnTo>
                <a:lnTo>
                  <a:pt x="0" y="2502"/>
                </a:lnTo>
                <a:lnTo>
                  <a:pt x="3452" y="2502"/>
                </a:lnTo>
                <a:lnTo>
                  <a:pt x="2597" y="1267"/>
                </a:lnTo>
                <a:lnTo>
                  <a:pt x="1742" y="0"/>
                </a:lnTo>
                <a:close/>
              </a:path>
            </a:pathLst>
          </a:custGeom>
          <a:solidFill>
            <a:srgbClr val="C4C4C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3" name="Google Shape;2774;p31">
            <a:extLst>
              <a:ext uri="{FF2B5EF4-FFF2-40B4-BE49-F238E27FC236}">
                <a16:creationId xmlns:a16="http://schemas.microsoft.com/office/drawing/2014/main" id="{031F2DCA-CAF6-C57D-EB45-46773559465A}"/>
              </a:ext>
            </a:extLst>
          </p:cNvPr>
          <p:cNvSpPr/>
          <p:nvPr/>
        </p:nvSpPr>
        <p:spPr>
          <a:xfrm>
            <a:off x="2499262" y="3580945"/>
            <a:ext cx="78794" cy="111096"/>
          </a:xfrm>
          <a:custGeom>
            <a:avLst/>
            <a:gdLst/>
            <a:ahLst/>
            <a:cxnLst/>
            <a:rect l="l" t="t" r="r" b="b"/>
            <a:pathLst>
              <a:path w="2471" h="3484" extrusionOk="0">
                <a:moveTo>
                  <a:pt x="2470" y="0"/>
                </a:moveTo>
                <a:lnTo>
                  <a:pt x="1235" y="887"/>
                </a:lnTo>
                <a:lnTo>
                  <a:pt x="0" y="1742"/>
                </a:lnTo>
                <a:lnTo>
                  <a:pt x="1235" y="2597"/>
                </a:lnTo>
                <a:lnTo>
                  <a:pt x="2470" y="3484"/>
                </a:lnTo>
                <a:lnTo>
                  <a:pt x="2470" y="1742"/>
                </a:lnTo>
                <a:lnTo>
                  <a:pt x="2470" y="0"/>
                </a:lnTo>
                <a:close/>
              </a:path>
            </a:pathLst>
          </a:custGeom>
          <a:solidFill>
            <a:srgbClr val="C4C4C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4" name="Google Shape;2809;p31">
            <a:extLst>
              <a:ext uri="{FF2B5EF4-FFF2-40B4-BE49-F238E27FC236}">
                <a16:creationId xmlns:a16="http://schemas.microsoft.com/office/drawing/2014/main" id="{B2077239-EBB1-60CF-D943-D101B04E0ED4}"/>
              </a:ext>
            </a:extLst>
          </p:cNvPr>
          <p:cNvSpPr/>
          <p:nvPr/>
        </p:nvSpPr>
        <p:spPr>
          <a:xfrm>
            <a:off x="3763569" y="2498396"/>
            <a:ext cx="109119" cy="110108"/>
          </a:xfrm>
          <a:custGeom>
            <a:avLst/>
            <a:gdLst/>
            <a:ahLst/>
            <a:cxnLst/>
            <a:rect l="l" t="t" r="r" b="b"/>
            <a:pathLst>
              <a:path w="3422" h="3453" extrusionOk="0">
                <a:moveTo>
                  <a:pt x="1711" y="0"/>
                </a:moveTo>
                <a:cubicBezTo>
                  <a:pt x="761" y="0"/>
                  <a:pt x="1" y="792"/>
                  <a:pt x="1" y="1742"/>
                </a:cubicBezTo>
                <a:cubicBezTo>
                  <a:pt x="1" y="2692"/>
                  <a:pt x="761" y="3452"/>
                  <a:pt x="1711" y="3452"/>
                </a:cubicBezTo>
                <a:cubicBezTo>
                  <a:pt x="2661" y="3452"/>
                  <a:pt x="3421" y="2692"/>
                  <a:pt x="3421" y="1742"/>
                </a:cubicBezTo>
                <a:cubicBezTo>
                  <a:pt x="3421" y="792"/>
                  <a:pt x="2661" y="0"/>
                  <a:pt x="1711" y="0"/>
                </a:cubicBezTo>
                <a:close/>
              </a:path>
            </a:pathLst>
          </a:custGeom>
          <a:solidFill>
            <a:srgbClr val="C4C4C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CBA0E59-3348-C49F-46F6-BDCEE0BF80DF}"/>
              </a:ext>
            </a:extLst>
          </p:cNvPr>
          <p:cNvSpPr txBox="1"/>
          <p:nvPr/>
        </p:nvSpPr>
        <p:spPr>
          <a:xfrm>
            <a:off x="1834997" y="2389168"/>
            <a:ext cx="139814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>
                <a:latin typeface="Fira Sans Medium"/>
              </a:rPr>
              <a:t>Cloud Provider</a:t>
            </a:r>
            <a:endParaRPr lang="de-AT" sz="1400" dirty="0">
              <a:latin typeface="Fira Sans Medium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FC83F28A-ED55-9C26-81D4-4ADE9941258A}"/>
              </a:ext>
            </a:extLst>
          </p:cNvPr>
          <p:cNvSpPr txBox="1"/>
          <p:nvPr/>
        </p:nvSpPr>
        <p:spPr>
          <a:xfrm>
            <a:off x="910809" y="3940477"/>
            <a:ext cx="4644656" cy="1877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Service Deployment in Clou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Independent </a:t>
            </a:r>
            <a:r>
              <a:rPr lang="de-DE" sz="1400" dirty="0" err="1"/>
              <a:t>from</a:t>
            </a:r>
            <a:r>
              <a:rPr lang="de-DE" sz="1400" dirty="0"/>
              <a:t> Cloud Provid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Services </a:t>
            </a:r>
            <a:r>
              <a:rPr lang="de-DE" sz="1400" dirty="0" err="1"/>
              <a:t>are</a:t>
            </a:r>
            <a:r>
              <a:rPr lang="de-DE" sz="1400" dirty="0"/>
              <a:t> </a:t>
            </a:r>
            <a:r>
              <a:rPr lang="de-DE" sz="1400" dirty="0" err="1"/>
              <a:t>used</a:t>
            </a:r>
            <a:r>
              <a:rPr lang="de-DE" sz="1400" dirty="0"/>
              <a:t> </a:t>
            </a:r>
            <a:r>
              <a:rPr lang="de-DE" sz="1400" dirty="0" err="1"/>
              <a:t>based</a:t>
            </a:r>
            <a:r>
              <a:rPr lang="de-DE" sz="1400" dirty="0"/>
              <a:t> on Use Case </a:t>
            </a:r>
            <a:r>
              <a:rPr lang="de-DE" sz="1400" dirty="0" err="1"/>
              <a:t>Requirement</a:t>
            </a:r>
            <a:r>
              <a:rPr lang="de-DE" sz="1400" dirty="0"/>
              <a:t> Defini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Services </a:t>
            </a:r>
            <a:r>
              <a:rPr lang="de-DE" sz="1400" dirty="0" err="1"/>
              <a:t>are</a:t>
            </a:r>
            <a:r>
              <a:rPr lang="de-DE" sz="1400" dirty="0"/>
              <a:t> </a:t>
            </a:r>
            <a:r>
              <a:rPr lang="de-DE" sz="1400" dirty="0" err="1"/>
              <a:t>called</a:t>
            </a:r>
            <a:r>
              <a:rPr lang="de-DE" sz="1400" dirty="0"/>
              <a:t> via </a:t>
            </a:r>
            <a:r>
              <a:rPr lang="de-DE" sz="1400" dirty="0" err="1"/>
              <a:t>secured</a:t>
            </a:r>
            <a:r>
              <a:rPr lang="de-DE" sz="1400" dirty="0"/>
              <a:t> </a:t>
            </a:r>
            <a:r>
              <a:rPr lang="de-DE" sz="1400" dirty="0" err="1"/>
              <a:t>tunnels</a:t>
            </a:r>
            <a:r>
              <a:rPr lang="de-DE" sz="1400" dirty="0"/>
              <a:t> and </a:t>
            </a:r>
            <a:r>
              <a:rPr lang="de-DE" sz="1400" dirty="0" err="1"/>
              <a:t>only</a:t>
            </a:r>
            <a:r>
              <a:rPr lang="de-DE" sz="1400" dirty="0"/>
              <a:t> via private </a:t>
            </a:r>
            <a:r>
              <a:rPr lang="de-DE" sz="1400" dirty="0" err="1"/>
              <a:t>endpoints</a:t>
            </a:r>
            <a:endParaRPr lang="de-DE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AT" dirty="0"/>
          </a:p>
        </p:txBody>
      </p:sp>
      <p:sp>
        <p:nvSpPr>
          <p:cNvPr id="76" name="Google Shape;2822;p31">
            <a:extLst>
              <a:ext uri="{FF2B5EF4-FFF2-40B4-BE49-F238E27FC236}">
                <a16:creationId xmlns:a16="http://schemas.microsoft.com/office/drawing/2014/main" id="{426EC4C6-B89C-4CFD-61BC-5D88E08616AC}"/>
              </a:ext>
            </a:extLst>
          </p:cNvPr>
          <p:cNvSpPr txBox="1"/>
          <p:nvPr/>
        </p:nvSpPr>
        <p:spPr>
          <a:xfrm>
            <a:off x="-787189" y="426912"/>
            <a:ext cx="7723500" cy="40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latin typeface="Fira Sans Medium"/>
                <a:ea typeface="Fira Sans Medium"/>
                <a:cs typeface="Fira Sans Medium"/>
                <a:sym typeface="Fira Sans Medium"/>
              </a:rPr>
              <a:t>Core Blocks AI Solution</a:t>
            </a:r>
            <a:endParaRPr sz="2800" dirty="0">
              <a:latin typeface="Fira Sans Medium"/>
              <a:ea typeface="Fira Sans Medium"/>
              <a:cs typeface="Fira Sans Medium"/>
              <a:sym typeface="Fira Sans Medium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A360B73-6074-259B-59EA-DE34F15F7B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5171" y="1796176"/>
            <a:ext cx="1693487" cy="79623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7943704-84C7-52FC-5CC3-E5D7B08F1E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48293" y="2558107"/>
            <a:ext cx="1958653" cy="87051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5908F36-6E28-A3A8-6134-A613767E05B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83968" y="2049326"/>
            <a:ext cx="1136083" cy="764181"/>
          </a:xfrm>
          <a:prstGeom prst="rect">
            <a:avLst/>
          </a:prstGeom>
        </p:spPr>
      </p:pic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id="{A33003B9-A452-1BB9-EE17-DBB23C3836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BBE0597C-028E-473F-BF50-BBB8B8A24EC3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68371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334324F8-9DEE-83A5-9CEB-85C122473286}"/>
              </a:ext>
            </a:extLst>
          </p:cNvPr>
          <p:cNvGrpSpPr/>
          <p:nvPr/>
        </p:nvGrpSpPr>
        <p:grpSpPr>
          <a:xfrm>
            <a:off x="1657861" y="1177224"/>
            <a:ext cx="1540023" cy="1541294"/>
            <a:chOff x="6901092" y="418789"/>
            <a:chExt cx="1540023" cy="1541294"/>
          </a:xfrm>
        </p:grpSpPr>
        <p:sp>
          <p:nvSpPr>
            <p:cNvPr id="5" name="Google Shape;2747;p31">
              <a:extLst>
                <a:ext uri="{FF2B5EF4-FFF2-40B4-BE49-F238E27FC236}">
                  <a16:creationId xmlns:a16="http://schemas.microsoft.com/office/drawing/2014/main" id="{2648042E-1530-27C7-DDF5-2C8563CC3EF0}"/>
                </a:ext>
              </a:extLst>
            </p:cNvPr>
            <p:cNvSpPr/>
            <p:nvPr/>
          </p:nvSpPr>
          <p:spPr>
            <a:xfrm>
              <a:off x="6901092" y="418789"/>
              <a:ext cx="1540023" cy="1541294"/>
            </a:xfrm>
            <a:custGeom>
              <a:avLst/>
              <a:gdLst/>
              <a:ahLst/>
              <a:cxnLst/>
              <a:rect l="l" t="t" r="r" b="b"/>
              <a:pathLst>
                <a:path w="38764" h="38796" extrusionOk="0">
                  <a:moveTo>
                    <a:pt x="19382" y="286"/>
                  </a:moveTo>
                  <a:cubicBezTo>
                    <a:pt x="29928" y="286"/>
                    <a:pt x="38510" y="8868"/>
                    <a:pt x="38510" y="19414"/>
                  </a:cubicBezTo>
                  <a:cubicBezTo>
                    <a:pt x="38510" y="29960"/>
                    <a:pt x="29928" y="38542"/>
                    <a:pt x="19382" y="38542"/>
                  </a:cubicBezTo>
                  <a:cubicBezTo>
                    <a:pt x="8805" y="38542"/>
                    <a:pt x="222" y="29960"/>
                    <a:pt x="222" y="19414"/>
                  </a:cubicBezTo>
                  <a:cubicBezTo>
                    <a:pt x="222" y="8868"/>
                    <a:pt x="8805" y="286"/>
                    <a:pt x="19382" y="286"/>
                  </a:cubicBezTo>
                  <a:close/>
                  <a:moveTo>
                    <a:pt x="19382" y="1"/>
                  </a:moveTo>
                  <a:cubicBezTo>
                    <a:pt x="8678" y="1"/>
                    <a:pt x="1" y="8710"/>
                    <a:pt x="1" y="19414"/>
                  </a:cubicBezTo>
                  <a:cubicBezTo>
                    <a:pt x="1" y="30086"/>
                    <a:pt x="8678" y="38795"/>
                    <a:pt x="19382" y="38795"/>
                  </a:cubicBezTo>
                  <a:cubicBezTo>
                    <a:pt x="30055" y="38795"/>
                    <a:pt x="38764" y="30086"/>
                    <a:pt x="38764" y="19414"/>
                  </a:cubicBezTo>
                  <a:cubicBezTo>
                    <a:pt x="38764" y="8710"/>
                    <a:pt x="30055" y="1"/>
                    <a:pt x="19382" y="1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" name="Google Shape;2748;p31">
              <a:extLst>
                <a:ext uri="{FF2B5EF4-FFF2-40B4-BE49-F238E27FC236}">
                  <a16:creationId xmlns:a16="http://schemas.microsoft.com/office/drawing/2014/main" id="{71EDE35D-C126-2E24-5AC1-C2A7E404D239}"/>
                </a:ext>
              </a:extLst>
            </p:cNvPr>
            <p:cNvSpPr/>
            <p:nvPr/>
          </p:nvSpPr>
          <p:spPr>
            <a:xfrm>
              <a:off x="7053965" y="564715"/>
              <a:ext cx="1234275" cy="1234275"/>
            </a:xfrm>
            <a:custGeom>
              <a:avLst/>
              <a:gdLst/>
              <a:ahLst/>
              <a:cxnLst/>
              <a:rect l="l" t="t" r="r" b="b"/>
              <a:pathLst>
                <a:path w="31068" h="31068" extrusionOk="0">
                  <a:moveTo>
                    <a:pt x="15550" y="3769"/>
                  </a:moveTo>
                  <a:cubicBezTo>
                    <a:pt x="22042" y="3769"/>
                    <a:pt x="27331" y="9058"/>
                    <a:pt x="27331" y="15550"/>
                  </a:cubicBezTo>
                  <a:cubicBezTo>
                    <a:pt x="27331" y="22042"/>
                    <a:pt x="22042" y="27331"/>
                    <a:pt x="15550" y="27331"/>
                  </a:cubicBezTo>
                  <a:cubicBezTo>
                    <a:pt x="9026" y="27331"/>
                    <a:pt x="3738" y="22042"/>
                    <a:pt x="3738" y="15550"/>
                  </a:cubicBezTo>
                  <a:cubicBezTo>
                    <a:pt x="3738" y="9026"/>
                    <a:pt x="9026" y="3769"/>
                    <a:pt x="15550" y="3769"/>
                  </a:cubicBezTo>
                  <a:close/>
                  <a:moveTo>
                    <a:pt x="15550" y="1"/>
                  </a:moveTo>
                  <a:cubicBezTo>
                    <a:pt x="6968" y="1"/>
                    <a:pt x="1" y="6968"/>
                    <a:pt x="1" y="15550"/>
                  </a:cubicBezTo>
                  <a:cubicBezTo>
                    <a:pt x="1" y="24101"/>
                    <a:pt x="6968" y="31068"/>
                    <a:pt x="15550" y="31068"/>
                  </a:cubicBezTo>
                  <a:cubicBezTo>
                    <a:pt x="24101" y="31068"/>
                    <a:pt x="31068" y="24101"/>
                    <a:pt x="31068" y="15550"/>
                  </a:cubicBezTo>
                  <a:cubicBezTo>
                    <a:pt x="31068" y="6968"/>
                    <a:pt x="24101" y="1"/>
                    <a:pt x="15550" y="1"/>
                  </a:cubicBezTo>
                  <a:close/>
                </a:path>
              </a:pathLst>
            </a:custGeom>
            <a:solidFill>
              <a:srgbClr val="F2A36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3971CD4-A936-11D0-7718-343DC0DE921A}"/>
                </a:ext>
              </a:extLst>
            </p:cNvPr>
            <p:cNvSpPr txBox="1"/>
            <p:nvPr/>
          </p:nvSpPr>
          <p:spPr>
            <a:xfrm>
              <a:off x="7119376" y="920410"/>
              <a:ext cx="110561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/>
                <a:t>Data Management</a:t>
              </a:r>
              <a:endParaRPr lang="de-AT" sz="1200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8A62BC21-39B9-09B3-5654-1B8DA72CB08D}"/>
              </a:ext>
            </a:extLst>
          </p:cNvPr>
          <p:cNvGrpSpPr/>
          <p:nvPr/>
        </p:nvGrpSpPr>
        <p:grpSpPr>
          <a:xfrm>
            <a:off x="5325988" y="1177224"/>
            <a:ext cx="1540023" cy="1541294"/>
            <a:chOff x="7617822" y="2120577"/>
            <a:chExt cx="1540023" cy="1541294"/>
          </a:xfrm>
        </p:grpSpPr>
        <p:sp>
          <p:nvSpPr>
            <p:cNvPr id="9" name="Google Shape;2747;p31">
              <a:extLst>
                <a:ext uri="{FF2B5EF4-FFF2-40B4-BE49-F238E27FC236}">
                  <a16:creationId xmlns:a16="http://schemas.microsoft.com/office/drawing/2014/main" id="{6FA1323D-E02C-1E5C-9447-29B57D23714B}"/>
                </a:ext>
              </a:extLst>
            </p:cNvPr>
            <p:cNvSpPr/>
            <p:nvPr/>
          </p:nvSpPr>
          <p:spPr>
            <a:xfrm>
              <a:off x="7617822" y="2120577"/>
              <a:ext cx="1540023" cy="1541294"/>
            </a:xfrm>
            <a:custGeom>
              <a:avLst/>
              <a:gdLst/>
              <a:ahLst/>
              <a:cxnLst/>
              <a:rect l="l" t="t" r="r" b="b"/>
              <a:pathLst>
                <a:path w="38764" h="38796" extrusionOk="0">
                  <a:moveTo>
                    <a:pt x="19382" y="286"/>
                  </a:moveTo>
                  <a:cubicBezTo>
                    <a:pt x="29928" y="286"/>
                    <a:pt x="38510" y="8868"/>
                    <a:pt x="38510" y="19414"/>
                  </a:cubicBezTo>
                  <a:cubicBezTo>
                    <a:pt x="38510" y="29960"/>
                    <a:pt x="29928" y="38542"/>
                    <a:pt x="19382" y="38542"/>
                  </a:cubicBezTo>
                  <a:cubicBezTo>
                    <a:pt x="8805" y="38542"/>
                    <a:pt x="222" y="29960"/>
                    <a:pt x="222" y="19414"/>
                  </a:cubicBezTo>
                  <a:cubicBezTo>
                    <a:pt x="222" y="8868"/>
                    <a:pt x="8805" y="286"/>
                    <a:pt x="19382" y="286"/>
                  </a:cubicBezTo>
                  <a:close/>
                  <a:moveTo>
                    <a:pt x="19382" y="1"/>
                  </a:moveTo>
                  <a:cubicBezTo>
                    <a:pt x="8678" y="1"/>
                    <a:pt x="1" y="8710"/>
                    <a:pt x="1" y="19414"/>
                  </a:cubicBezTo>
                  <a:cubicBezTo>
                    <a:pt x="1" y="30086"/>
                    <a:pt x="8678" y="38795"/>
                    <a:pt x="19382" y="38795"/>
                  </a:cubicBezTo>
                  <a:cubicBezTo>
                    <a:pt x="30055" y="38795"/>
                    <a:pt x="38764" y="30086"/>
                    <a:pt x="38764" y="19414"/>
                  </a:cubicBezTo>
                  <a:cubicBezTo>
                    <a:pt x="38764" y="8710"/>
                    <a:pt x="30055" y="1"/>
                    <a:pt x="19382" y="1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" name="Google Shape;2748;p31">
              <a:extLst>
                <a:ext uri="{FF2B5EF4-FFF2-40B4-BE49-F238E27FC236}">
                  <a16:creationId xmlns:a16="http://schemas.microsoft.com/office/drawing/2014/main" id="{C0B59A4A-931D-6DB8-3D16-58369D6C2659}"/>
                </a:ext>
              </a:extLst>
            </p:cNvPr>
            <p:cNvSpPr/>
            <p:nvPr/>
          </p:nvSpPr>
          <p:spPr>
            <a:xfrm>
              <a:off x="7770695" y="2266503"/>
              <a:ext cx="1234275" cy="1234275"/>
            </a:xfrm>
            <a:custGeom>
              <a:avLst/>
              <a:gdLst/>
              <a:ahLst/>
              <a:cxnLst/>
              <a:rect l="l" t="t" r="r" b="b"/>
              <a:pathLst>
                <a:path w="31068" h="31068" extrusionOk="0">
                  <a:moveTo>
                    <a:pt x="15550" y="3769"/>
                  </a:moveTo>
                  <a:cubicBezTo>
                    <a:pt x="22042" y="3769"/>
                    <a:pt x="27331" y="9058"/>
                    <a:pt x="27331" y="15550"/>
                  </a:cubicBezTo>
                  <a:cubicBezTo>
                    <a:pt x="27331" y="22042"/>
                    <a:pt x="22042" y="27331"/>
                    <a:pt x="15550" y="27331"/>
                  </a:cubicBezTo>
                  <a:cubicBezTo>
                    <a:pt x="9026" y="27331"/>
                    <a:pt x="3738" y="22042"/>
                    <a:pt x="3738" y="15550"/>
                  </a:cubicBezTo>
                  <a:cubicBezTo>
                    <a:pt x="3738" y="9026"/>
                    <a:pt x="9026" y="3769"/>
                    <a:pt x="15550" y="3769"/>
                  </a:cubicBezTo>
                  <a:close/>
                  <a:moveTo>
                    <a:pt x="15550" y="1"/>
                  </a:moveTo>
                  <a:cubicBezTo>
                    <a:pt x="6968" y="1"/>
                    <a:pt x="1" y="6968"/>
                    <a:pt x="1" y="15550"/>
                  </a:cubicBezTo>
                  <a:cubicBezTo>
                    <a:pt x="1" y="24101"/>
                    <a:pt x="6968" y="31068"/>
                    <a:pt x="15550" y="31068"/>
                  </a:cubicBezTo>
                  <a:cubicBezTo>
                    <a:pt x="24101" y="31068"/>
                    <a:pt x="31068" y="24101"/>
                    <a:pt x="31068" y="15550"/>
                  </a:cubicBezTo>
                  <a:cubicBezTo>
                    <a:pt x="31068" y="6968"/>
                    <a:pt x="24101" y="1"/>
                    <a:pt x="15550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A5414C29-A3AE-D355-E558-F38E158F0734}"/>
                </a:ext>
              </a:extLst>
            </p:cNvPr>
            <p:cNvSpPr txBox="1"/>
            <p:nvPr/>
          </p:nvSpPr>
          <p:spPr>
            <a:xfrm>
              <a:off x="7836106" y="2622198"/>
              <a:ext cx="110561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 err="1"/>
                <a:t>Testing</a:t>
              </a:r>
              <a:r>
                <a:rPr lang="de-DE" sz="1200" dirty="0"/>
                <a:t> &amp; Monitoring</a:t>
              </a:r>
              <a:endParaRPr lang="de-AT" sz="1200" dirty="0"/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9BF0BB6-6199-00F6-DD79-CF99DE977244}"/>
              </a:ext>
            </a:extLst>
          </p:cNvPr>
          <p:cNvGrpSpPr/>
          <p:nvPr/>
        </p:nvGrpSpPr>
        <p:grpSpPr>
          <a:xfrm>
            <a:off x="8994115" y="1145379"/>
            <a:ext cx="1540023" cy="1541294"/>
            <a:chOff x="6748217" y="3869878"/>
            <a:chExt cx="1540023" cy="1541294"/>
          </a:xfrm>
        </p:grpSpPr>
        <p:sp>
          <p:nvSpPr>
            <p:cNvPr id="14" name="Google Shape;2747;p31">
              <a:extLst>
                <a:ext uri="{FF2B5EF4-FFF2-40B4-BE49-F238E27FC236}">
                  <a16:creationId xmlns:a16="http://schemas.microsoft.com/office/drawing/2014/main" id="{CF922092-3105-F696-141B-2C990F7317C7}"/>
                </a:ext>
              </a:extLst>
            </p:cNvPr>
            <p:cNvSpPr/>
            <p:nvPr/>
          </p:nvSpPr>
          <p:spPr>
            <a:xfrm>
              <a:off x="6748217" y="3869878"/>
              <a:ext cx="1540023" cy="1541294"/>
            </a:xfrm>
            <a:custGeom>
              <a:avLst/>
              <a:gdLst/>
              <a:ahLst/>
              <a:cxnLst/>
              <a:rect l="l" t="t" r="r" b="b"/>
              <a:pathLst>
                <a:path w="38764" h="38796" extrusionOk="0">
                  <a:moveTo>
                    <a:pt x="19382" y="286"/>
                  </a:moveTo>
                  <a:cubicBezTo>
                    <a:pt x="29928" y="286"/>
                    <a:pt x="38510" y="8868"/>
                    <a:pt x="38510" y="19414"/>
                  </a:cubicBezTo>
                  <a:cubicBezTo>
                    <a:pt x="38510" y="29960"/>
                    <a:pt x="29928" y="38542"/>
                    <a:pt x="19382" y="38542"/>
                  </a:cubicBezTo>
                  <a:cubicBezTo>
                    <a:pt x="8805" y="38542"/>
                    <a:pt x="222" y="29960"/>
                    <a:pt x="222" y="19414"/>
                  </a:cubicBezTo>
                  <a:cubicBezTo>
                    <a:pt x="222" y="8868"/>
                    <a:pt x="8805" y="286"/>
                    <a:pt x="19382" y="286"/>
                  </a:cubicBezTo>
                  <a:close/>
                  <a:moveTo>
                    <a:pt x="19382" y="1"/>
                  </a:moveTo>
                  <a:cubicBezTo>
                    <a:pt x="8678" y="1"/>
                    <a:pt x="1" y="8710"/>
                    <a:pt x="1" y="19414"/>
                  </a:cubicBezTo>
                  <a:cubicBezTo>
                    <a:pt x="1" y="30086"/>
                    <a:pt x="8678" y="38795"/>
                    <a:pt x="19382" y="38795"/>
                  </a:cubicBezTo>
                  <a:cubicBezTo>
                    <a:pt x="30055" y="38795"/>
                    <a:pt x="38764" y="30086"/>
                    <a:pt x="38764" y="19414"/>
                  </a:cubicBezTo>
                  <a:cubicBezTo>
                    <a:pt x="38764" y="8710"/>
                    <a:pt x="30055" y="1"/>
                    <a:pt x="19382" y="1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" name="Google Shape;2748;p31">
              <a:extLst>
                <a:ext uri="{FF2B5EF4-FFF2-40B4-BE49-F238E27FC236}">
                  <a16:creationId xmlns:a16="http://schemas.microsoft.com/office/drawing/2014/main" id="{28C72DB8-4A55-F881-B41F-296F6178E7A0}"/>
                </a:ext>
              </a:extLst>
            </p:cNvPr>
            <p:cNvSpPr/>
            <p:nvPr/>
          </p:nvSpPr>
          <p:spPr>
            <a:xfrm>
              <a:off x="6901090" y="4015804"/>
              <a:ext cx="1234275" cy="1234275"/>
            </a:xfrm>
            <a:custGeom>
              <a:avLst/>
              <a:gdLst/>
              <a:ahLst/>
              <a:cxnLst/>
              <a:rect l="l" t="t" r="r" b="b"/>
              <a:pathLst>
                <a:path w="31068" h="31068" extrusionOk="0">
                  <a:moveTo>
                    <a:pt x="15550" y="3769"/>
                  </a:moveTo>
                  <a:cubicBezTo>
                    <a:pt x="22042" y="3769"/>
                    <a:pt x="27331" y="9058"/>
                    <a:pt x="27331" y="15550"/>
                  </a:cubicBezTo>
                  <a:cubicBezTo>
                    <a:pt x="27331" y="22042"/>
                    <a:pt x="22042" y="27331"/>
                    <a:pt x="15550" y="27331"/>
                  </a:cubicBezTo>
                  <a:cubicBezTo>
                    <a:pt x="9026" y="27331"/>
                    <a:pt x="3738" y="22042"/>
                    <a:pt x="3738" y="15550"/>
                  </a:cubicBezTo>
                  <a:cubicBezTo>
                    <a:pt x="3738" y="9026"/>
                    <a:pt x="9026" y="3769"/>
                    <a:pt x="15550" y="3769"/>
                  </a:cubicBezTo>
                  <a:close/>
                  <a:moveTo>
                    <a:pt x="15550" y="1"/>
                  </a:moveTo>
                  <a:cubicBezTo>
                    <a:pt x="6968" y="1"/>
                    <a:pt x="1" y="6968"/>
                    <a:pt x="1" y="15550"/>
                  </a:cubicBezTo>
                  <a:cubicBezTo>
                    <a:pt x="1" y="24101"/>
                    <a:pt x="6968" y="31068"/>
                    <a:pt x="15550" y="31068"/>
                  </a:cubicBezTo>
                  <a:cubicBezTo>
                    <a:pt x="24101" y="31068"/>
                    <a:pt x="31068" y="24101"/>
                    <a:pt x="31068" y="15550"/>
                  </a:cubicBezTo>
                  <a:cubicBezTo>
                    <a:pt x="31068" y="6968"/>
                    <a:pt x="24101" y="1"/>
                    <a:pt x="15550" y="1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endParaRPr dirty="0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7EE82B24-1D0E-A61A-86C3-430F4FF8AB14}"/>
                </a:ext>
              </a:extLst>
            </p:cNvPr>
            <p:cNvSpPr txBox="1"/>
            <p:nvPr/>
          </p:nvSpPr>
          <p:spPr>
            <a:xfrm>
              <a:off x="6965420" y="4224914"/>
              <a:ext cx="110561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/>
                <a:t>Non-</a:t>
              </a:r>
              <a:r>
                <a:rPr lang="de-DE" sz="1200" dirty="0" err="1"/>
                <a:t>Functional</a:t>
              </a:r>
              <a:r>
                <a:rPr lang="de-DE" sz="1200" dirty="0"/>
                <a:t> </a:t>
              </a:r>
              <a:r>
                <a:rPr lang="de-DE" sz="1200" dirty="0" err="1"/>
                <a:t>Requirements</a:t>
              </a:r>
              <a:endParaRPr lang="de-AT" sz="1200" dirty="0"/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63EF6056-4A6E-E333-3A55-7D94DF7F6E52}"/>
              </a:ext>
            </a:extLst>
          </p:cNvPr>
          <p:cNvSpPr txBox="1"/>
          <p:nvPr/>
        </p:nvSpPr>
        <p:spPr>
          <a:xfrm>
            <a:off x="853516" y="4005539"/>
            <a:ext cx="3144324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/>
              <a:t>Data Management</a:t>
            </a:r>
          </a:p>
          <a:p>
            <a:pPr algn="ctr"/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ata </a:t>
            </a:r>
            <a:r>
              <a:rPr lang="de-DE" dirty="0" err="1"/>
              <a:t>Preprocessing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ata </a:t>
            </a:r>
            <a:r>
              <a:rPr lang="de-DE" dirty="0" err="1"/>
              <a:t>Versioning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ata Quality G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TL </a:t>
            </a:r>
            <a:r>
              <a:rPr lang="de-DE" dirty="0" err="1"/>
              <a:t>Proces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ecurity ( </a:t>
            </a:r>
            <a:r>
              <a:rPr lang="de-DE" dirty="0" err="1"/>
              <a:t>tenant</a:t>
            </a:r>
            <a:r>
              <a:rPr lang="de-DE" dirty="0"/>
              <a:t> </a:t>
            </a:r>
            <a:r>
              <a:rPr lang="de-DE" dirty="0" err="1"/>
              <a:t>separation</a:t>
            </a:r>
            <a:r>
              <a:rPr lang="de-DE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ccess Management</a:t>
            </a:r>
          </a:p>
          <a:p>
            <a:endParaRPr lang="de-DE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0D78D57-D557-08F0-4AFD-E0FDCDBCD37C}"/>
              </a:ext>
            </a:extLst>
          </p:cNvPr>
          <p:cNvSpPr txBox="1"/>
          <p:nvPr/>
        </p:nvSpPr>
        <p:spPr>
          <a:xfrm>
            <a:off x="4651488" y="4005539"/>
            <a:ext cx="301557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/>
              <a:t>Testing</a:t>
            </a:r>
            <a:r>
              <a:rPr lang="de-DE" dirty="0"/>
              <a:t> &amp; Monitoring</a:t>
            </a:r>
          </a:p>
          <a:p>
            <a:pPr algn="ctr"/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valuation </a:t>
            </a:r>
            <a:r>
              <a:rPr lang="de-DE" dirty="0" err="1"/>
              <a:t>of</a:t>
            </a:r>
            <a:r>
              <a:rPr lang="de-DE" dirty="0"/>
              <a:t> Use Ca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Monitoring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hosted</a:t>
            </a:r>
            <a:r>
              <a:rPr lang="de-DE" dirty="0"/>
              <a:t> Use Ca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Model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Prompt Engineer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AT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6823342-562B-A8F5-FC61-9547EB28F4B8}"/>
              </a:ext>
            </a:extLst>
          </p:cNvPr>
          <p:cNvSpPr txBox="1"/>
          <p:nvPr/>
        </p:nvSpPr>
        <p:spPr>
          <a:xfrm>
            <a:off x="8256337" y="4005539"/>
            <a:ext cx="301557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/>
              <a:t>Non-</a:t>
            </a:r>
            <a:r>
              <a:rPr lang="de-DE" dirty="0" err="1"/>
              <a:t>Functional</a:t>
            </a:r>
            <a:r>
              <a:rPr lang="de-DE" dirty="0"/>
              <a:t> </a:t>
            </a:r>
            <a:r>
              <a:rPr lang="de-DE" dirty="0" err="1"/>
              <a:t>Requirements</a:t>
            </a:r>
            <a:endParaRPr lang="de-DE" dirty="0"/>
          </a:p>
          <a:p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/>
              <a:t>Audit Log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/>
              <a:t>User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/>
              <a:t>Performance Log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 err="1"/>
              <a:t>Incident</a:t>
            </a:r>
            <a:r>
              <a:rPr lang="de-AT" dirty="0"/>
              <a:t> &amp; </a:t>
            </a:r>
            <a:r>
              <a:rPr lang="de-AT" dirty="0" err="1"/>
              <a:t>Defect</a:t>
            </a:r>
            <a:r>
              <a:rPr lang="de-AT" dirty="0"/>
              <a:t> Handl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 err="1"/>
              <a:t>Cost</a:t>
            </a:r>
            <a:r>
              <a:rPr lang="de-AT" dirty="0"/>
              <a:t>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/>
              <a:t>License Management</a:t>
            </a:r>
          </a:p>
        </p:txBody>
      </p:sp>
      <p:sp>
        <p:nvSpPr>
          <p:cNvPr id="42" name="Google Shape;2822;p31">
            <a:extLst>
              <a:ext uri="{FF2B5EF4-FFF2-40B4-BE49-F238E27FC236}">
                <a16:creationId xmlns:a16="http://schemas.microsoft.com/office/drawing/2014/main" id="{FBB792BC-42CE-BD75-D4D6-DCAED1621980}"/>
              </a:ext>
            </a:extLst>
          </p:cNvPr>
          <p:cNvSpPr txBox="1"/>
          <p:nvPr/>
        </p:nvSpPr>
        <p:spPr>
          <a:xfrm>
            <a:off x="-787189" y="426912"/>
            <a:ext cx="7723500" cy="40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latin typeface="Fira Sans Medium"/>
                <a:ea typeface="Fira Sans Medium"/>
                <a:cs typeface="Fira Sans Medium"/>
                <a:sym typeface="Fira Sans Medium"/>
              </a:rPr>
              <a:t>Support Blocks AI Solution</a:t>
            </a:r>
            <a:endParaRPr sz="2800" dirty="0">
              <a:latin typeface="Fira Sans Medium"/>
              <a:ea typeface="Fira Sans Medium"/>
              <a:cs typeface="Fira Sans Medium"/>
              <a:sym typeface="Fira Sans Medium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F5417AA-D82A-639F-428E-4592631DAC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70048" y="2852461"/>
            <a:ext cx="1338890" cy="777738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2E148791-DED3-9F31-2215-8F297B5401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4818" y="2833716"/>
            <a:ext cx="1341719" cy="779381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66A892EA-73C3-E613-3C9A-E224EDEA3C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18012" y="2832599"/>
            <a:ext cx="1319170" cy="775982"/>
          </a:xfrm>
          <a:prstGeom prst="rect">
            <a:avLst/>
          </a:prstGeom>
        </p:spPr>
      </p:pic>
      <p:sp>
        <p:nvSpPr>
          <p:cNvPr id="24" name="Slide Number Placeholder 1">
            <a:extLst>
              <a:ext uri="{FF2B5EF4-FFF2-40B4-BE49-F238E27FC236}">
                <a16:creationId xmlns:a16="http://schemas.microsoft.com/office/drawing/2014/main" id="{75BC3648-C58F-2877-E496-467791288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BBE0597C-028E-473F-BF50-BBB8B8A24EC3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508010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933BFD2-E818-BC19-DB15-8A63F7FB2353}"/>
              </a:ext>
            </a:extLst>
          </p:cNvPr>
          <p:cNvSpPr/>
          <p:nvPr/>
        </p:nvSpPr>
        <p:spPr>
          <a:xfrm>
            <a:off x="7856187" y="144137"/>
            <a:ext cx="1892912" cy="4116417"/>
          </a:xfrm>
          <a:prstGeom prst="rect">
            <a:avLst/>
          </a:prstGeom>
          <a:solidFill>
            <a:schemeClr val="tx2">
              <a:lumMod val="50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6C81873-1385-8134-8225-34F2369F6DC9}"/>
              </a:ext>
            </a:extLst>
          </p:cNvPr>
          <p:cNvSpPr/>
          <p:nvPr/>
        </p:nvSpPr>
        <p:spPr>
          <a:xfrm>
            <a:off x="5989366" y="144138"/>
            <a:ext cx="1859283" cy="4116417"/>
          </a:xfrm>
          <a:prstGeom prst="rect">
            <a:avLst/>
          </a:prstGeom>
          <a:solidFill>
            <a:schemeClr val="accent4">
              <a:lumMod val="60000"/>
              <a:lumOff val="40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083CAAD-62A1-CF87-539F-5D1B71D3633B}"/>
              </a:ext>
            </a:extLst>
          </p:cNvPr>
          <p:cNvSpPr/>
          <p:nvPr/>
        </p:nvSpPr>
        <p:spPr>
          <a:xfrm>
            <a:off x="4138882" y="141964"/>
            <a:ext cx="1862935" cy="4116417"/>
          </a:xfrm>
          <a:prstGeom prst="rect">
            <a:avLst/>
          </a:prstGeom>
          <a:solidFill>
            <a:schemeClr val="accent6">
              <a:lumMod val="60000"/>
              <a:lumOff val="40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B772FA2-12C8-C840-D58C-B0B572E1ECDA}"/>
              </a:ext>
            </a:extLst>
          </p:cNvPr>
          <p:cNvSpPr/>
          <p:nvPr/>
        </p:nvSpPr>
        <p:spPr>
          <a:xfrm>
            <a:off x="2276612" y="126970"/>
            <a:ext cx="1858514" cy="4116417"/>
          </a:xfrm>
          <a:prstGeom prst="rect">
            <a:avLst/>
          </a:prstGeom>
          <a:solidFill>
            <a:schemeClr val="accent1">
              <a:lumMod val="40000"/>
              <a:lumOff val="60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213B56F-4427-B9B2-B7AE-806F7381D320}"/>
              </a:ext>
            </a:extLst>
          </p:cNvPr>
          <p:cNvSpPr/>
          <p:nvPr/>
        </p:nvSpPr>
        <p:spPr>
          <a:xfrm>
            <a:off x="2271323" y="126970"/>
            <a:ext cx="7479275" cy="4124105"/>
          </a:xfrm>
          <a:prstGeom prst="rect">
            <a:avLst/>
          </a:prstGeom>
          <a:noFill/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6835411-DC20-3B65-8FD7-A87F0AF784FB}"/>
              </a:ext>
            </a:extLst>
          </p:cNvPr>
          <p:cNvCxnSpPr>
            <a:cxnSpLocks/>
          </p:cNvCxnSpPr>
          <p:nvPr/>
        </p:nvCxnSpPr>
        <p:spPr>
          <a:xfrm flipH="1">
            <a:off x="4142567" y="126970"/>
            <a:ext cx="4317" cy="413091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62ABF81-C6A2-4C97-6AA2-E7A9CB001117}"/>
              </a:ext>
            </a:extLst>
          </p:cNvPr>
          <p:cNvCxnSpPr>
            <a:cxnSpLocks/>
          </p:cNvCxnSpPr>
          <p:nvPr/>
        </p:nvCxnSpPr>
        <p:spPr>
          <a:xfrm>
            <a:off x="7849514" y="126970"/>
            <a:ext cx="0" cy="413386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F33BBFB-4D64-6769-2A59-9BA6606929AE}"/>
              </a:ext>
            </a:extLst>
          </p:cNvPr>
          <p:cNvCxnSpPr>
            <a:cxnSpLocks/>
          </p:cNvCxnSpPr>
          <p:nvPr/>
        </p:nvCxnSpPr>
        <p:spPr>
          <a:xfrm>
            <a:off x="5995273" y="135952"/>
            <a:ext cx="0" cy="412192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oogle Shape;2835;p32">
            <a:extLst>
              <a:ext uri="{FF2B5EF4-FFF2-40B4-BE49-F238E27FC236}">
                <a16:creationId xmlns:a16="http://schemas.microsoft.com/office/drawing/2014/main" id="{5204AE2A-2380-3B65-18FE-B83B17F7232F}"/>
              </a:ext>
            </a:extLst>
          </p:cNvPr>
          <p:cNvGrpSpPr/>
          <p:nvPr/>
        </p:nvGrpSpPr>
        <p:grpSpPr>
          <a:xfrm>
            <a:off x="2471685" y="665382"/>
            <a:ext cx="7063134" cy="3037129"/>
            <a:chOff x="534225" y="1948475"/>
            <a:chExt cx="3961025" cy="1740125"/>
          </a:xfrm>
        </p:grpSpPr>
        <p:sp>
          <p:nvSpPr>
            <p:cNvPr id="15" name="Google Shape;2836;p32">
              <a:extLst>
                <a:ext uri="{FF2B5EF4-FFF2-40B4-BE49-F238E27FC236}">
                  <a16:creationId xmlns:a16="http://schemas.microsoft.com/office/drawing/2014/main" id="{B13E1C62-38DD-B915-BD13-9B8B40B85624}"/>
                </a:ext>
              </a:extLst>
            </p:cNvPr>
            <p:cNvSpPr/>
            <p:nvPr/>
          </p:nvSpPr>
          <p:spPr>
            <a:xfrm>
              <a:off x="3519025" y="2593925"/>
              <a:ext cx="976225" cy="924275"/>
            </a:xfrm>
            <a:custGeom>
              <a:avLst/>
              <a:gdLst/>
              <a:ahLst/>
              <a:cxnLst/>
              <a:rect l="l" t="t" r="r" b="b"/>
              <a:pathLst>
                <a:path w="39049" h="36971" extrusionOk="0">
                  <a:moveTo>
                    <a:pt x="15290" y="0"/>
                  </a:moveTo>
                  <a:cubicBezTo>
                    <a:pt x="9753" y="0"/>
                    <a:pt x="4217" y="2114"/>
                    <a:pt x="1" y="6315"/>
                  </a:cubicBezTo>
                  <a:lnTo>
                    <a:pt x="4181" y="10495"/>
                  </a:lnTo>
                  <a:cubicBezTo>
                    <a:pt x="7188" y="7504"/>
                    <a:pt x="11206" y="5926"/>
                    <a:pt x="15274" y="5926"/>
                  </a:cubicBezTo>
                  <a:cubicBezTo>
                    <a:pt x="19260" y="5926"/>
                    <a:pt x="23295" y="7440"/>
                    <a:pt x="26476" y="10622"/>
                  </a:cubicBezTo>
                  <a:cubicBezTo>
                    <a:pt x="32525" y="16765"/>
                    <a:pt x="32493" y="26678"/>
                    <a:pt x="26381" y="32790"/>
                  </a:cubicBezTo>
                  <a:lnTo>
                    <a:pt x="30561" y="36970"/>
                  </a:lnTo>
                  <a:cubicBezTo>
                    <a:pt x="38954" y="28641"/>
                    <a:pt x="39049" y="15119"/>
                    <a:pt x="30846" y="6631"/>
                  </a:cubicBezTo>
                  <a:cubicBezTo>
                    <a:pt x="26592" y="2201"/>
                    <a:pt x="20940" y="0"/>
                    <a:pt x="15290" y="0"/>
                  </a:cubicBezTo>
                  <a:close/>
                </a:path>
              </a:pathLst>
            </a:custGeom>
            <a:solidFill>
              <a:srgbClr val="EEEEE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" name="Google Shape;2837;p32">
              <a:extLst>
                <a:ext uri="{FF2B5EF4-FFF2-40B4-BE49-F238E27FC236}">
                  <a16:creationId xmlns:a16="http://schemas.microsoft.com/office/drawing/2014/main" id="{F8FF0391-C2DD-6B25-B3D6-BC3D1421A23A}"/>
                </a:ext>
              </a:extLst>
            </p:cNvPr>
            <p:cNvSpPr/>
            <p:nvPr/>
          </p:nvSpPr>
          <p:spPr>
            <a:xfrm>
              <a:off x="2123225" y="2610250"/>
              <a:ext cx="770375" cy="265075"/>
            </a:xfrm>
            <a:custGeom>
              <a:avLst/>
              <a:gdLst/>
              <a:ahLst/>
              <a:cxnLst/>
              <a:rect l="l" t="t" r="r" b="b"/>
              <a:pathLst>
                <a:path w="30815" h="10603" extrusionOk="0">
                  <a:moveTo>
                    <a:pt x="15261" y="1"/>
                  </a:moveTo>
                  <a:cubicBezTo>
                    <a:pt x="9749" y="1"/>
                    <a:pt x="4236" y="2107"/>
                    <a:pt x="0" y="6327"/>
                  </a:cubicBezTo>
                  <a:lnTo>
                    <a:pt x="4117" y="10507"/>
                  </a:lnTo>
                  <a:cubicBezTo>
                    <a:pt x="7165" y="7475"/>
                    <a:pt x="11184" y="5923"/>
                    <a:pt x="15228" y="5923"/>
                  </a:cubicBezTo>
                  <a:cubicBezTo>
                    <a:pt x="19252" y="5923"/>
                    <a:pt x="23301" y="7459"/>
                    <a:pt x="26444" y="10602"/>
                  </a:cubicBezTo>
                  <a:lnTo>
                    <a:pt x="30814" y="6612"/>
                  </a:lnTo>
                  <a:cubicBezTo>
                    <a:pt x="30719" y="6548"/>
                    <a:pt x="30624" y="6453"/>
                    <a:pt x="30561" y="6358"/>
                  </a:cubicBezTo>
                  <a:cubicBezTo>
                    <a:pt x="26325" y="2123"/>
                    <a:pt x="20794" y="1"/>
                    <a:pt x="15261" y="1"/>
                  </a:cubicBezTo>
                  <a:close/>
                </a:path>
              </a:pathLst>
            </a:custGeom>
            <a:solidFill>
              <a:srgbClr val="EEEEE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" name="Google Shape;2838;p32">
              <a:extLst>
                <a:ext uri="{FF2B5EF4-FFF2-40B4-BE49-F238E27FC236}">
                  <a16:creationId xmlns:a16="http://schemas.microsoft.com/office/drawing/2014/main" id="{B11C84B8-81E3-330B-DCE8-FD26ED807F19}"/>
                </a:ext>
              </a:extLst>
            </p:cNvPr>
            <p:cNvSpPr/>
            <p:nvPr/>
          </p:nvSpPr>
          <p:spPr>
            <a:xfrm>
              <a:off x="534225" y="2555974"/>
              <a:ext cx="1008675" cy="899674"/>
            </a:xfrm>
            <a:custGeom>
              <a:avLst/>
              <a:gdLst/>
              <a:ahLst/>
              <a:cxnLst/>
              <a:rect l="l" t="t" r="r" b="b"/>
              <a:pathLst>
                <a:path w="40347" h="35987" extrusionOk="0">
                  <a:moveTo>
                    <a:pt x="24118" y="1"/>
                  </a:moveTo>
                  <a:cubicBezTo>
                    <a:pt x="19022" y="1"/>
                    <a:pt x="13906" y="1787"/>
                    <a:pt x="9786" y="5426"/>
                  </a:cubicBezTo>
                  <a:cubicBezTo>
                    <a:pt x="855" y="13343"/>
                    <a:pt x="0" y="27024"/>
                    <a:pt x="7917" y="35986"/>
                  </a:cubicBezTo>
                  <a:lnTo>
                    <a:pt x="12351" y="32059"/>
                  </a:lnTo>
                  <a:cubicBezTo>
                    <a:pt x="6619" y="25567"/>
                    <a:pt x="7221" y="15623"/>
                    <a:pt x="13713" y="9860"/>
                  </a:cubicBezTo>
                  <a:cubicBezTo>
                    <a:pt x="16707" y="7216"/>
                    <a:pt x="20435" y="5913"/>
                    <a:pt x="24146" y="5913"/>
                  </a:cubicBezTo>
                  <a:cubicBezTo>
                    <a:pt x="28481" y="5913"/>
                    <a:pt x="32793" y="7692"/>
                    <a:pt x="35881" y="11190"/>
                  </a:cubicBezTo>
                  <a:lnTo>
                    <a:pt x="40347" y="7294"/>
                  </a:lnTo>
                  <a:cubicBezTo>
                    <a:pt x="36069" y="2469"/>
                    <a:pt x="30108" y="1"/>
                    <a:pt x="24118" y="1"/>
                  </a:cubicBezTo>
                  <a:close/>
                </a:path>
              </a:pathLst>
            </a:custGeom>
            <a:solidFill>
              <a:srgbClr val="EEEEE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18" name="Google Shape;2839;p32">
              <a:extLst>
                <a:ext uri="{FF2B5EF4-FFF2-40B4-BE49-F238E27FC236}">
                  <a16:creationId xmlns:a16="http://schemas.microsoft.com/office/drawing/2014/main" id="{EBA393E1-C1F2-C984-8071-C47F7D16EF02}"/>
                </a:ext>
              </a:extLst>
            </p:cNvPr>
            <p:cNvSpPr/>
            <p:nvPr/>
          </p:nvSpPr>
          <p:spPr>
            <a:xfrm>
              <a:off x="1433625" y="2738325"/>
              <a:ext cx="795700" cy="290275"/>
            </a:xfrm>
            <a:custGeom>
              <a:avLst/>
              <a:gdLst/>
              <a:ahLst/>
              <a:cxnLst/>
              <a:rect l="l" t="t" r="r" b="b"/>
              <a:pathLst>
                <a:path w="31828" h="11611" extrusionOk="0">
                  <a:moveTo>
                    <a:pt x="4371" y="0"/>
                  </a:moveTo>
                  <a:lnTo>
                    <a:pt x="0" y="3927"/>
                  </a:lnTo>
                  <a:cubicBezTo>
                    <a:pt x="380" y="4371"/>
                    <a:pt x="792" y="4814"/>
                    <a:pt x="1235" y="5226"/>
                  </a:cubicBezTo>
                  <a:cubicBezTo>
                    <a:pt x="5459" y="9481"/>
                    <a:pt x="11013" y="11611"/>
                    <a:pt x="16566" y="11611"/>
                  </a:cubicBezTo>
                  <a:cubicBezTo>
                    <a:pt x="22089" y="11611"/>
                    <a:pt x="27612" y="9505"/>
                    <a:pt x="31828" y="5289"/>
                  </a:cubicBezTo>
                  <a:lnTo>
                    <a:pt x="27711" y="1077"/>
                  </a:lnTo>
                  <a:cubicBezTo>
                    <a:pt x="24635" y="4137"/>
                    <a:pt x="20583" y="5673"/>
                    <a:pt x="16536" y="5673"/>
                  </a:cubicBezTo>
                  <a:cubicBezTo>
                    <a:pt x="12499" y="5673"/>
                    <a:pt x="8468" y="4145"/>
                    <a:pt x="5416" y="1077"/>
                  </a:cubicBezTo>
                  <a:cubicBezTo>
                    <a:pt x="5067" y="729"/>
                    <a:pt x="4687" y="380"/>
                    <a:pt x="4371" y="0"/>
                  </a:cubicBezTo>
                  <a:close/>
                </a:path>
              </a:pathLst>
            </a:custGeom>
            <a:solidFill>
              <a:srgbClr val="EEEEE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2840;p32">
              <a:extLst>
                <a:ext uri="{FF2B5EF4-FFF2-40B4-BE49-F238E27FC236}">
                  <a16:creationId xmlns:a16="http://schemas.microsoft.com/office/drawing/2014/main" id="{440AF372-5322-79F4-0D95-A946FD3F15B7}"/>
                </a:ext>
              </a:extLst>
            </p:cNvPr>
            <p:cNvSpPr/>
            <p:nvPr/>
          </p:nvSpPr>
          <p:spPr>
            <a:xfrm>
              <a:off x="1464500" y="1948475"/>
              <a:ext cx="1425925" cy="1740125"/>
            </a:xfrm>
            <a:custGeom>
              <a:avLst/>
              <a:gdLst/>
              <a:ahLst/>
              <a:cxnLst/>
              <a:rect l="l" t="t" r="r" b="b"/>
              <a:pathLst>
                <a:path w="57037" h="69605" extrusionOk="0">
                  <a:moveTo>
                    <a:pt x="15262" y="1"/>
                  </a:moveTo>
                  <a:cubicBezTo>
                    <a:pt x="9739" y="1"/>
                    <a:pt x="4216" y="2107"/>
                    <a:pt x="0" y="6323"/>
                  </a:cubicBezTo>
                  <a:lnTo>
                    <a:pt x="4149" y="10503"/>
                  </a:lnTo>
                  <a:cubicBezTo>
                    <a:pt x="7209" y="7459"/>
                    <a:pt x="11220" y="5939"/>
                    <a:pt x="15234" y="5939"/>
                  </a:cubicBezTo>
                  <a:cubicBezTo>
                    <a:pt x="19279" y="5939"/>
                    <a:pt x="23329" y="7482"/>
                    <a:pt x="26412" y="10566"/>
                  </a:cubicBezTo>
                  <a:cubicBezTo>
                    <a:pt x="32525" y="16710"/>
                    <a:pt x="32493" y="26686"/>
                    <a:pt x="26349" y="32798"/>
                  </a:cubicBezTo>
                  <a:cubicBezTo>
                    <a:pt x="18052" y="41253"/>
                    <a:pt x="18020" y="54808"/>
                    <a:pt x="26412" y="63232"/>
                  </a:cubicBezTo>
                  <a:cubicBezTo>
                    <a:pt x="30632" y="67483"/>
                    <a:pt x="36179" y="69605"/>
                    <a:pt x="41732" y="69605"/>
                  </a:cubicBezTo>
                  <a:cubicBezTo>
                    <a:pt x="47264" y="69605"/>
                    <a:pt x="52801" y="67499"/>
                    <a:pt x="57036" y="63295"/>
                  </a:cubicBezTo>
                  <a:lnTo>
                    <a:pt x="52856" y="59083"/>
                  </a:lnTo>
                  <a:cubicBezTo>
                    <a:pt x="49792" y="62147"/>
                    <a:pt x="45775" y="63675"/>
                    <a:pt x="41756" y="63675"/>
                  </a:cubicBezTo>
                  <a:cubicBezTo>
                    <a:pt x="37715" y="63675"/>
                    <a:pt x="33673" y="62131"/>
                    <a:pt x="30593" y="59051"/>
                  </a:cubicBezTo>
                  <a:cubicBezTo>
                    <a:pt x="24481" y="52907"/>
                    <a:pt x="24544" y="42932"/>
                    <a:pt x="30688" y="36820"/>
                  </a:cubicBezTo>
                  <a:cubicBezTo>
                    <a:pt x="39017" y="28364"/>
                    <a:pt x="38985" y="14778"/>
                    <a:pt x="30593" y="6386"/>
                  </a:cubicBezTo>
                  <a:cubicBezTo>
                    <a:pt x="26369" y="2130"/>
                    <a:pt x="20816" y="1"/>
                    <a:pt x="15262" y="1"/>
                  </a:cubicBez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20" name="Google Shape;2841;p32">
              <a:extLst>
                <a:ext uri="{FF2B5EF4-FFF2-40B4-BE49-F238E27FC236}">
                  <a16:creationId xmlns:a16="http://schemas.microsoft.com/office/drawing/2014/main" id="{D13FD6C3-909C-D1C9-81A0-381583B9F2CC}"/>
                </a:ext>
              </a:extLst>
            </p:cNvPr>
            <p:cNvSpPr/>
            <p:nvPr/>
          </p:nvSpPr>
          <p:spPr>
            <a:xfrm>
              <a:off x="2784300" y="2776325"/>
              <a:ext cx="794925" cy="299375"/>
            </a:xfrm>
            <a:custGeom>
              <a:avLst/>
              <a:gdLst/>
              <a:ahLst/>
              <a:cxnLst/>
              <a:rect l="l" t="t" r="r" b="b"/>
              <a:pathLst>
                <a:path w="31797" h="11975" extrusionOk="0">
                  <a:moveTo>
                    <a:pt x="4371" y="0"/>
                  </a:moveTo>
                  <a:lnTo>
                    <a:pt x="1" y="3959"/>
                  </a:lnTo>
                  <a:cubicBezTo>
                    <a:pt x="381" y="4402"/>
                    <a:pt x="792" y="4814"/>
                    <a:pt x="1172" y="5289"/>
                  </a:cubicBezTo>
                  <a:cubicBezTo>
                    <a:pt x="4829" y="9845"/>
                    <a:pt x="10208" y="11974"/>
                    <a:pt x="15741" y="11974"/>
                  </a:cubicBezTo>
                  <a:cubicBezTo>
                    <a:pt x="21517" y="11974"/>
                    <a:pt x="27462" y="9655"/>
                    <a:pt x="31796" y="5352"/>
                  </a:cubicBezTo>
                  <a:lnTo>
                    <a:pt x="27616" y="1141"/>
                  </a:lnTo>
                  <a:cubicBezTo>
                    <a:pt x="24548" y="4193"/>
                    <a:pt x="20525" y="5721"/>
                    <a:pt x="16500" y="5721"/>
                  </a:cubicBezTo>
                  <a:cubicBezTo>
                    <a:pt x="12465" y="5721"/>
                    <a:pt x="8429" y="4185"/>
                    <a:pt x="5353" y="1109"/>
                  </a:cubicBezTo>
                  <a:cubicBezTo>
                    <a:pt x="5004" y="760"/>
                    <a:pt x="4688" y="380"/>
                    <a:pt x="4371" y="0"/>
                  </a:cubicBezTo>
                  <a:close/>
                </a:path>
              </a:pathLst>
            </a:custGeom>
            <a:solidFill>
              <a:srgbClr val="EEEEE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2842;p32">
              <a:extLst>
                <a:ext uri="{FF2B5EF4-FFF2-40B4-BE49-F238E27FC236}">
                  <a16:creationId xmlns:a16="http://schemas.microsoft.com/office/drawing/2014/main" id="{CF025869-E4BC-154C-19C6-FF3743E64117}"/>
                </a:ext>
              </a:extLst>
            </p:cNvPr>
            <p:cNvSpPr/>
            <p:nvPr/>
          </p:nvSpPr>
          <p:spPr>
            <a:xfrm>
              <a:off x="731350" y="2105725"/>
              <a:ext cx="1008700" cy="1531475"/>
            </a:xfrm>
            <a:custGeom>
              <a:avLst/>
              <a:gdLst/>
              <a:ahLst/>
              <a:cxnLst/>
              <a:rect l="l" t="t" r="r" b="b"/>
              <a:pathLst>
                <a:path w="40348" h="61259" extrusionOk="0">
                  <a:moveTo>
                    <a:pt x="29358" y="1"/>
                  </a:moveTo>
                  <a:cubicBezTo>
                    <a:pt x="21314" y="8013"/>
                    <a:pt x="20902" y="20776"/>
                    <a:pt x="28091" y="29295"/>
                  </a:cubicBezTo>
                  <a:cubicBezTo>
                    <a:pt x="33728" y="35787"/>
                    <a:pt x="33095" y="45667"/>
                    <a:pt x="26635" y="51400"/>
                  </a:cubicBezTo>
                  <a:cubicBezTo>
                    <a:pt x="23649" y="54036"/>
                    <a:pt x="19933" y="55332"/>
                    <a:pt x="16229" y="55332"/>
                  </a:cubicBezTo>
                  <a:cubicBezTo>
                    <a:pt x="11880" y="55332"/>
                    <a:pt x="7547" y="53544"/>
                    <a:pt x="4435" y="50038"/>
                  </a:cubicBezTo>
                  <a:lnTo>
                    <a:pt x="1" y="53965"/>
                  </a:lnTo>
                  <a:cubicBezTo>
                    <a:pt x="4296" y="58790"/>
                    <a:pt x="10256" y="61258"/>
                    <a:pt x="16241" y="61258"/>
                  </a:cubicBezTo>
                  <a:cubicBezTo>
                    <a:pt x="21332" y="61258"/>
                    <a:pt x="26442" y="59472"/>
                    <a:pt x="30561" y="55833"/>
                  </a:cubicBezTo>
                  <a:cubicBezTo>
                    <a:pt x="39492" y="47916"/>
                    <a:pt x="40347" y="34267"/>
                    <a:pt x="32493" y="25336"/>
                  </a:cubicBezTo>
                  <a:cubicBezTo>
                    <a:pt x="27395" y="19129"/>
                    <a:pt x="27743" y="9977"/>
                    <a:pt x="33538" y="4213"/>
                  </a:cubicBezTo>
                  <a:lnTo>
                    <a:pt x="29358" y="1"/>
                  </a:ln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2843;p32">
              <a:extLst>
                <a:ext uri="{FF2B5EF4-FFF2-40B4-BE49-F238E27FC236}">
                  <a16:creationId xmlns:a16="http://schemas.microsoft.com/office/drawing/2014/main" id="{B85D2141-48CA-0A80-56D7-5036F433CD1E}"/>
                </a:ext>
              </a:extLst>
            </p:cNvPr>
            <p:cNvSpPr/>
            <p:nvPr/>
          </p:nvSpPr>
          <p:spPr>
            <a:xfrm>
              <a:off x="679100" y="3284600"/>
              <a:ext cx="198750" cy="201925"/>
            </a:xfrm>
            <a:custGeom>
              <a:avLst/>
              <a:gdLst/>
              <a:ahLst/>
              <a:cxnLst/>
              <a:rect l="l" t="t" r="r" b="b"/>
              <a:pathLst>
                <a:path w="7950" h="8077" extrusionOk="0">
                  <a:moveTo>
                    <a:pt x="1" y="1"/>
                  </a:moveTo>
                  <a:lnTo>
                    <a:pt x="571" y="4023"/>
                  </a:lnTo>
                  <a:lnTo>
                    <a:pt x="1109" y="8076"/>
                  </a:lnTo>
                  <a:lnTo>
                    <a:pt x="4529" y="4910"/>
                  </a:lnTo>
                  <a:lnTo>
                    <a:pt x="7950" y="1743"/>
                  </a:lnTo>
                  <a:lnTo>
                    <a:pt x="3959" y="888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2844;p32">
              <a:extLst>
                <a:ext uri="{FF2B5EF4-FFF2-40B4-BE49-F238E27FC236}">
                  <a16:creationId xmlns:a16="http://schemas.microsoft.com/office/drawing/2014/main" id="{0E022341-6D5A-1909-1582-6B14997BC1F4}"/>
                </a:ext>
              </a:extLst>
            </p:cNvPr>
            <p:cNvSpPr/>
            <p:nvPr/>
          </p:nvSpPr>
          <p:spPr>
            <a:xfrm>
              <a:off x="1410650" y="2074075"/>
              <a:ext cx="199550" cy="200325"/>
            </a:xfrm>
            <a:custGeom>
              <a:avLst/>
              <a:gdLst/>
              <a:ahLst/>
              <a:cxnLst/>
              <a:rect l="l" t="t" r="r" b="b"/>
              <a:pathLst>
                <a:path w="7982" h="8013" extrusionOk="0">
                  <a:moveTo>
                    <a:pt x="1363" y="0"/>
                  </a:moveTo>
                  <a:lnTo>
                    <a:pt x="666" y="4022"/>
                  </a:lnTo>
                  <a:lnTo>
                    <a:pt x="1" y="8012"/>
                  </a:lnTo>
                  <a:lnTo>
                    <a:pt x="3991" y="7284"/>
                  </a:lnTo>
                  <a:lnTo>
                    <a:pt x="7981" y="6524"/>
                  </a:lnTo>
                  <a:lnTo>
                    <a:pt x="4656" y="3262"/>
                  </a:lnTo>
                  <a:lnTo>
                    <a:pt x="1363" y="0"/>
                  </a:ln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2845;p32">
              <a:extLst>
                <a:ext uri="{FF2B5EF4-FFF2-40B4-BE49-F238E27FC236}">
                  <a16:creationId xmlns:a16="http://schemas.microsoft.com/office/drawing/2014/main" id="{5F1F73C6-C467-EA77-2ADA-DEED33067F7C}"/>
                </a:ext>
              </a:extLst>
            </p:cNvPr>
            <p:cNvSpPr/>
            <p:nvPr/>
          </p:nvSpPr>
          <p:spPr>
            <a:xfrm>
              <a:off x="2603800" y="2145325"/>
              <a:ext cx="494050" cy="1389500"/>
            </a:xfrm>
            <a:custGeom>
              <a:avLst/>
              <a:gdLst/>
              <a:ahLst/>
              <a:cxnLst/>
              <a:rect l="l" t="t" r="r" b="b"/>
              <a:pathLst>
                <a:path w="19762" h="55580" extrusionOk="0">
                  <a:moveTo>
                    <a:pt x="8519" y="0"/>
                  </a:moveTo>
                  <a:cubicBezTo>
                    <a:pt x="475" y="8013"/>
                    <a:pt x="0" y="20680"/>
                    <a:pt x="7189" y="29199"/>
                  </a:cubicBezTo>
                  <a:cubicBezTo>
                    <a:pt x="13270" y="35343"/>
                    <a:pt x="13206" y="45287"/>
                    <a:pt x="7094" y="51399"/>
                  </a:cubicBezTo>
                  <a:lnTo>
                    <a:pt x="11274" y="55579"/>
                  </a:lnTo>
                  <a:cubicBezTo>
                    <a:pt x="19667" y="47219"/>
                    <a:pt x="19762" y="33696"/>
                    <a:pt x="11559" y="25209"/>
                  </a:cubicBezTo>
                  <a:cubicBezTo>
                    <a:pt x="6556" y="19033"/>
                    <a:pt x="6936" y="9913"/>
                    <a:pt x="12699" y="4181"/>
                  </a:cubicBezTo>
                  <a:lnTo>
                    <a:pt x="8519" y="0"/>
                  </a:lnTo>
                  <a:close/>
                </a:path>
              </a:pathLst>
            </a:custGeom>
            <a:solidFill>
              <a:srgbClr val="F2A36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2846;p32">
              <a:extLst>
                <a:ext uri="{FF2B5EF4-FFF2-40B4-BE49-F238E27FC236}">
                  <a16:creationId xmlns:a16="http://schemas.microsoft.com/office/drawing/2014/main" id="{36C70356-F74C-FA2F-5CE5-C19C13DE9D1A}"/>
                </a:ext>
              </a:extLst>
            </p:cNvPr>
            <p:cNvSpPr/>
            <p:nvPr/>
          </p:nvSpPr>
          <p:spPr>
            <a:xfrm>
              <a:off x="2730475" y="3397025"/>
              <a:ext cx="201125" cy="198750"/>
            </a:xfrm>
            <a:custGeom>
              <a:avLst/>
              <a:gdLst/>
              <a:ahLst/>
              <a:cxnLst/>
              <a:rect l="l" t="t" r="r" b="b"/>
              <a:pathLst>
                <a:path w="8045" h="7950" extrusionOk="0">
                  <a:moveTo>
                    <a:pt x="1710" y="1"/>
                  </a:moveTo>
                  <a:lnTo>
                    <a:pt x="855" y="3959"/>
                  </a:lnTo>
                  <a:lnTo>
                    <a:pt x="0" y="7950"/>
                  </a:lnTo>
                  <a:lnTo>
                    <a:pt x="0" y="7950"/>
                  </a:lnTo>
                  <a:lnTo>
                    <a:pt x="4022" y="7380"/>
                  </a:lnTo>
                  <a:lnTo>
                    <a:pt x="8044" y="6810"/>
                  </a:lnTo>
                  <a:lnTo>
                    <a:pt x="4877" y="3389"/>
                  </a:lnTo>
                  <a:lnTo>
                    <a:pt x="1710" y="1"/>
                  </a:lnTo>
                  <a:close/>
                </a:path>
              </a:pathLst>
            </a:custGeom>
            <a:solidFill>
              <a:srgbClr val="F2A36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2847;p32">
              <a:extLst>
                <a:ext uri="{FF2B5EF4-FFF2-40B4-BE49-F238E27FC236}">
                  <a16:creationId xmlns:a16="http://schemas.microsoft.com/office/drawing/2014/main" id="{37541682-34C6-34FD-33EC-E97F72DE58AB}"/>
                </a:ext>
              </a:extLst>
            </p:cNvPr>
            <p:cNvSpPr/>
            <p:nvPr/>
          </p:nvSpPr>
          <p:spPr>
            <a:xfrm>
              <a:off x="2815175" y="1990625"/>
              <a:ext cx="1471850" cy="1681650"/>
            </a:xfrm>
            <a:custGeom>
              <a:avLst/>
              <a:gdLst/>
              <a:ahLst/>
              <a:cxnLst/>
              <a:rect l="l" t="t" r="r" b="b"/>
              <a:pathLst>
                <a:path w="58874" h="67266" extrusionOk="0">
                  <a:moveTo>
                    <a:pt x="15224" y="1"/>
                  </a:moveTo>
                  <a:cubicBezTo>
                    <a:pt x="9722" y="1"/>
                    <a:pt x="4217" y="2083"/>
                    <a:pt x="1" y="6252"/>
                  </a:cubicBezTo>
                  <a:lnTo>
                    <a:pt x="4149" y="10464"/>
                  </a:lnTo>
                  <a:cubicBezTo>
                    <a:pt x="7213" y="7431"/>
                    <a:pt x="11213" y="5919"/>
                    <a:pt x="15208" y="5919"/>
                  </a:cubicBezTo>
                  <a:cubicBezTo>
                    <a:pt x="19265" y="5919"/>
                    <a:pt x="23317" y="7479"/>
                    <a:pt x="26381" y="10590"/>
                  </a:cubicBezTo>
                  <a:cubicBezTo>
                    <a:pt x="31828" y="16101"/>
                    <a:pt x="32272" y="24588"/>
                    <a:pt x="27933" y="30700"/>
                  </a:cubicBezTo>
                  <a:cubicBezTo>
                    <a:pt x="27300" y="31365"/>
                    <a:pt x="26730" y="32030"/>
                    <a:pt x="26191" y="32727"/>
                  </a:cubicBezTo>
                  <a:cubicBezTo>
                    <a:pt x="26191" y="32759"/>
                    <a:pt x="26159" y="32759"/>
                    <a:pt x="26159" y="32790"/>
                  </a:cubicBezTo>
                  <a:cubicBezTo>
                    <a:pt x="19921" y="41246"/>
                    <a:pt x="20617" y="53217"/>
                    <a:pt x="28281" y="60881"/>
                  </a:cubicBezTo>
                  <a:cubicBezTo>
                    <a:pt x="32505" y="65136"/>
                    <a:pt x="38059" y="67266"/>
                    <a:pt x="43612" y="67266"/>
                  </a:cubicBezTo>
                  <a:cubicBezTo>
                    <a:pt x="49135" y="67266"/>
                    <a:pt x="54658" y="65160"/>
                    <a:pt x="58874" y="60944"/>
                  </a:cubicBezTo>
                  <a:lnTo>
                    <a:pt x="54693" y="56764"/>
                  </a:lnTo>
                  <a:cubicBezTo>
                    <a:pt x="51629" y="59812"/>
                    <a:pt x="47612" y="61340"/>
                    <a:pt x="43597" y="61340"/>
                  </a:cubicBezTo>
                  <a:cubicBezTo>
                    <a:pt x="39560" y="61340"/>
                    <a:pt x="35526" y="59796"/>
                    <a:pt x="32462" y="56700"/>
                  </a:cubicBezTo>
                  <a:cubicBezTo>
                    <a:pt x="27015" y="51221"/>
                    <a:pt x="26413" y="42703"/>
                    <a:pt x="30720" y="36590"/>
                  </a:cubicBezTo>
                  <a:cubicBezTo>
                    <a:pt x="38859" y="28167"/>
                    <a:pt x="38859" y="14802"/>
                    <a:pt x="30593" y="6410"/>
                  </a:cubicBezTo>
                  <a:cubicBezTo>
                    <a:pt x="26369" y="2139"/>
                    <a:pt x="20798" y="1"/>
                    <a:pt x="15224" y="1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27" name="Google Shape;2848;p32">
              <a:extLst>
                <a:ext uri="{FF2B5EF4-FFF2-40B4-BE49-F238E27FC236}">
                  <a16:creationId xmlns:a16="http://schemas.microsoft.com/office/drawing/2014/main" id="{1D042E36-F8B0-7B35-5B22-65597EC5DBF1}"/>
                </a:ext>
              </a:extLst>
            </p:cNvPr>
            <p:cNvSpPr/>
            <p:nvPr/>
          </p:nvSpPr>
          <p:spPr>
            <a:xfrm>
              <a:off x="4133400" y="3366950"/>
              <a:ext cx="201125" cy="198750"/>
            </a:xfrm>
            <a:custGeom>
              <a:avLst/>
              <a:gdLst/>
              <a:ahLst/>
              <a:cxnLst/>
              <a:rect l="l" t="t" r="r" b="b"/>
              <a:pathLst>
                <a:path w="8045" h="7950" extrusionOk="0">
                  <a:moveTo>
                    <a:pt x="1711" y="0"/>
                  </a:moveTo>
                  <a:lnTo>
                    <a:pt x="856" y="3991"/>
                  </a:lnTo>
                  <a:lnTo>
                    <a:pt x="1" y="7949"/>
                  </a:lnTo>
                  <a:lnTo>
                    <a:pt x="4023" y="7379"/>
                  </a:lnTo>
                  <a:lnTo>
                    <a:pt x="8045" y="6809"/>
                  </a:lnTo>
                  <a:lnTo>
                    <a:pt x="4878" y="3421"/>
                  </a:lnTo>
                  <a:lnTo>
                    <a:pt x="1711" y="0"/>
                  </a:lnTo>
                  <a:close/>
                </a:path>
              </a:pathLst>
            </a:custGeom>
            <a:solidFill>
              <a:srgbClr val="EEEEE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2849;p32">
              <a:extLst>
                <a:ext uri="{FF2B5EF4-FFF2-40B4-BE49-F238E27FC236}">
                  <a16:creationId xmlns:a16="http://schemas.microsoft.com/office/drawing/2014/main" id="{35042BE6-2BE4-6A37-8652-D64C64E6BD48}"/>
                </a:ext>
              </a:extLst>
            </p:cNvPr>
            <p:cNvSpPr/>
            <p:nvPr/>
          </p:nvSpPr>
          <p:spPr>
            <a:xfrm>
              <a:off x="2746300" y="2106525"/>
              <a:ext cx="201125" cy="199550"/>
            </a:xfrm>
            <a:custGeom>
              <a:avLst/>
              <a:gdLst/>
              <a:ahLst/>
              <a:cxnLst/>
              <a:rect l="l" t="t" r="r" b="b"/>
              <a:pathLst>
                <a:path w="8045" h="7982" extrusionOk="0">
                  <a:moveTo>
                    <a:pt x="1647" y="1"/>
                  </a:moveTo>
                  <a:lnTo>
                    <a:pt x="824" y="3991"/>
                  </a:lnTo>
                  <a:lnTo>
                    <a:pt x="1" y="7981"/>
                  </a:lnTo>
                  <a:lnTo>
                    <a:pt x="4023" y="7379"/>
                  </a:lnTo>
                  <a:lnTo>
                    <a:pt x="8045" y="6778"/>
                  </a:lnTo>
                  <a:lnTo>
                    <a:pt x="4846" y="3389"/>
                  </a:lnTo>
                  <a:lnTo>
                    <a:pt x="1647" y="1"/>
                  </a:ln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9" name="Google Shape;2850;p32">
            <a:extLst>
              <a:ext uri="{FF2B5EF4-FFF2-40B4-BE49-F238E27FC236}">
                <a16:creationId xmlns:a16="http://schemas.microsoft.com/office/drawing/2014/main" id="{89EF9524-DCB2-9EBE-8AD9-38767CB2F9FB}"/>
              </a:ext>
            </a:extLst>
          </p:cNvPr>
          <p:cNvSpPr txBox="1"/>
          <p:nvPr/>
        </p:nvSpPr>
        <p:spPr>
          <a:xfrm>
            <a:off x="7956457" y="2341447"/>
            <a:ext cx="1125173" cy="7521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 dirty="0">
                <a:latin typeface="Fira Sans"/>
                <a:ea typeface="Fira Sans"/>
                <a:cs typeface="Fira Sans"/>
                <a:sym typeface="Fira Sans"/>
              </a:rPr>
              <a:t>Operation</a:t>
            </a:r>
            <a:endParaRPr sz="1600" dirty="0"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30" name="Google Shape;2851;p32">
            <a:extLst>
              <a:ext uri="{FF2B5EF4-FFF2-40B4-BE49-F238E27FC236}">
                <a16:creationId xmlns:a16="http://schemas.microsoft.com/office/drawing/2014/main" id="{A3BFD494-6DF4-2604-6D90-687E10318532}"/>
              </a:ext>
            </a:extLst>
          </p:cNvPr>
          <p:cNvSpPr txBox="1"/>
          <p:nvPr/>
        </p:nvSpPr>
        <p:spPr>
          <a:xfrm>
            <a:off x="5595721" y="2411260"/>
            <a:ext cx="740003" cy="7137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 dirty="0">
                <a:latin typeface="Fira Sans"/>
                <a:ea typeface="Fira Sans"/>
                <a:cs typeface="Fira Sans"/>
                <a:sym typeface="Fira Sans"/>
              </a:rPr>
              <a:t>Test</a:t>
            </a:r>
            <a:endParaRPr sz="1600" dirty="0"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31" name="Google Shape;2852;p32">
            <a:extLst>
              <a:ext uri="{FF2B5EF4-FFF2-40B4-BE49-F238E27FC236}">
                <a16:creationId xmlns:a16="http://schemas.microsoft.com/office/drawing/2014/main" id="{CAFB07D0-A1F5-AE16-3386-F28EF60435F2}"/>
              </a:ext>
            </a:extLst>
          </p:cNvPr>
          <p:cNvSpPr txBox="1"/>
          <p:nvPr/>
        </p:nvSpPr>
        <p:spPr>
          <a:xfrm>
            <a:off x="3169203" y="2260735"/>
            <a:ext cx="740003" cy="7137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 dirty="0">
                <a:latin typeface="Fira Sans"/>
                <a:ea typeface="Fira Sans"/>
                <a:cs typeface="Fira Sans"/>
                <a:sym typeface="Fira Sans"/>
              </a:rPr>
              <a:t>Data</a:t>
            </a:r>
            <a:endParaRPr sz="1600" dirty="0"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32" name="Google Shape;2853;p32">
            <a:extLst>
              <a:ext uri="{FF2B5EF4-FFF2-40B4-BE49-F238E27FC236}">
                <a16:creationId xmlns:a16="http://schemas.microsoft.com/office/drawing/2014/main" id="{A31D94B3-B5EE-102C-F986-143E52D39150}"/>
              </a:ext>
            </a:extLst>
          </p:cNvPr>
          <p:cNvSpPr txBox="1"/>
          <p:nvPr/>
        </p:nvSpPr>
        <p:spPr>
          <a:xfrm>
            <a:off x="6457717" y="1258810"/>
            <a:ext cx="1562234" cy="7521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 dirty="0">
                <a:latin typeface="Fira Sans"/>
                <a:ea typeface="Fira Sans"/>
                <a:cs typeface="Fira Sans"/>
                <a:sym typeface="Fira Sans"/>
              </a:rPr>
              <a:t>Development</a:t>
            </a:r>
            <a:endParaRPr sz="1600" dirty="0"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33" name="Google Shape;2854;p32">
            <a:extLst>
              <a:ext uri="{FF2B5EF4-FFF2-40B4-BE49-F238E27FC236}">
                <a16:creationId xmlns:a16="http://schemas.microsoft.com/office/drawing/2014/main" id="{8DC65D04-A804-04D6-0A1F-607C8A13ADE2}"/>
              </a:ext>
            </a:extLst>
          </p:cNvPr>
          <p:cNvSpPr txBox="1"/>
          <p:nvPr/>
        </p:nvSpPr>
        <p:spPr>
          <a:xfrm>
            <a:off x="4391034" y="1298488"/>
            <a:ext cx="898577" cy="7137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 dirty="0">
                <a:latin typeface="Fira Sans"/>
                <a:ea typeface="Fira Sans"/>
                <a:cs typeface="Fira Sans"/>
                <a:sym typeface="Fira Sans"/>
              </a:rPr>
              <a:t>Model</a:t>
            </a:r>
            <a:endParaRPr sz="1600" dirty="0"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34" name="Google Shape;2810;p31">
            <a:extLst>
              <a:ext uri="{FF2B5EF4-FFF2-40B4-BE49-F238E27FC236}">
                <a16:creationId xmlns:a16="http://schemas.microsoft.com/office/drawing/2014/main" id="{73167A03-A7F3-9251-F1C3-94E6D362CF85}"/>
              </a:ext>
            </a:extLst>
          </p:cNvPr>
          <p:cNvSpPr/>
          <p:nvPr/>
        </p:nvSpPr>
        <p:spPr>
          <a:xfrm>
            <a:off x="3051696" y="3300523"/>
            <a:ext cx="111096" cy="111128"/>
          </a:xfrm>
          <a:custGeom>
            <a:avLst/>
            <a:gdLst/>
            <a:ahLst/>
            <a:cxnLst/>
            <a:rect l="l" t="t" r="r" b="b"/>
            <a:pathLst>
              <a:path w="3484" h="3485" extrusionOk="0">
                <a:moveTo>
                  <a:pt x="1742" y="0"/>
                </a:moveTo>
                <a:cubicBezTo>
                  <a:pt x="792" y="0"/>
                  <a:pt x="0" y="761"/>
                  <a:pt x="0" y="1742"/>
                </a:cubicBezTo>
                <a:cubicBezTo>
                  <a:pt x="0" y="2692"/>
                  <a:pt x="792" y="3484"/>
                  <a:pt x="1742" y="3484"/>
                </a:cubicBezTo>
                <a:cubicBezTo>
                  <a:pt x="2724" y="3484"/>
                  <a:pt x="3484" y="2692"/>
                  <a:pt x="3484" y="1742"/>
                </a:cubicBezTo>
                <a:cubicBezTo>
                  <a:pt x="3484" y="761"/>
                  <a:pt x="2724" y="0"/>
                  <a:pt x="1742" y="0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E9BD57F-E775-DA56-3DFD-72823D79D3A5}"/>
              </a:ext>
            </a:extLst>
          </p:cNvPr>
          <p:cNvSpPr txBox="1"/>
          <p:nvPr/>
        </p:nvSpPr>
        <p:spPr>
          <a:xfrm>
            <a:off x="2635319" y="3566895"/>
            <a:ext cx="70403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Collection</a:t>
            </a:r>
            <a:endParaRPr lang="de-AT" sz="1000" dirty="0"/>
          </a:p>
        </p:txBody>
      </p:sp>
      <p:sp>
        <p:nvSpPr>
          <p:cNvPr id="36" name="Google Shape;2810;p31">
            <a:extLst>
              <a:ext uri="{FF2B5EF4-FFF2-40B4-BE49-F238E27FC236}">
                <a16:creationId xmlns:a16="http://schemas.microsoft.com/office/drawing/2014/main" id="{34E532AA-5AEF-B83A-1487-038D37AB3931}"/>
              </a:ext>
            </a:extLst>
          </p:cNvPr>
          <p:cNvSpPr/>
          <p:nvPr/>
        </p:nvSpPr>
        <p:spPr>
          <a:xfrm>
            <a:off x="3274590" y="1826516"/>
            <a:ext cx="111096" cy="111128"/>
          </a:xfrm>
          <a:custGeom>
            <a:avLst/>
            <a:gdLst/>
            <a:ahLst/>
            <a:cxnLst/>
            <a:rect l="l" t="t" r="r" b="b"/>
            <a:pathLst>
              <a:path w="3484" h="3485" extrusionOk="0">
                <a:moveTo>
                  <a:pt x="1742" y="0"/>
                </a:moveTo>
                <a:cubicBezTo>
                  <a:pt x="792" y="0"/>
                  <a:pt x="0" y="761"/>
                  <a:pt x="0" y="1742"/>
                </a:cubicBezTo>
                <a:cubicBezTo>
                  <a:pt x="0" y="2692"/>
                  <a:pt x="792" y="3484"/>
                  <a:pt x="1742" y="3484"/>
                </a:cubicBezTo>
                <a:cubicBezTo>
                  <a:pt x="2724" y="3484"/>
                  <a:pt x="3484" y="2692"/>
                  <a:pt x="3484" y="1742"/>
                </a:cubicBezTo>
                <a:cubicBezTo>
                  <a:pt x="3484" y="761"/>
                  <a:pt x="2724" y="0"/>
                  <a:pt x="1742" y="0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2E5E60E-6C75-0AC0-9C24-0208A2894F85}"/>
              </a:ext>
            </a:extLst>
          </p:cNvPr>
          <p:cNvSpPr txBox="1"/>
          <p:nvPr/>
        </p:nvSpPr>
        <p:spPr>
          <a:xfrm>
            <a:off x="2728399" y="1492345"/>
            <a:ext cx="91403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err="1"/>
              <a:t>Preprocessing</a:t>
            </a:r>
            <a:endParaRPr lang="de-AT" sz="1000" dirty="0"/>
          </a:p>
        </p:txBody>
      </p:sp>
      <p:sp>
        <p:nvSpPr>
          <p:cNvPr id="38" name="Google Shape;2810;p31">
            <a:extLst>
              <a:ext uri="{FF2B5EF4-FFF2-40B4-BE49-F238E27FC236}">
                <a16:creationId xmlns:a16="http://schemas.microsoft.com/office/drawing/2014/main" id="{9BFDBA5B-31BE-94AE-8E76-9BBA2600BD3A}"/>
              </a:ext>
            </a:extLst>
          </p:cNvPr>
          <p:cNvSpPr/>
          <p:nvPr/>
        </p:nvSpPr>
        <p:spPr>
          <a:xfrm>
            <a:off x="4748410" y="749924"/>
            <a:ext cx="111096" cy="111128"/>
          </a:xfrm>
          <a:custGeom>
            <a:avLst/>
            <a:gdLst/>
            <a:ahLst/>
            <a:cxnLst/>
            <a:rect l="l" t="t" r="r" b="b"/>
            <a:pathLst>
              <a:path w="3484" h="3485" extrusionOk="0">
                <a:moveTo>
                  <a:pt x="1742" y="0"/>
                </a:moveTo>
                <a:cubicBezTo>
                  <a:pt x="792" y="0"/>
                  <a:pt x="0" y="761"/>
                  <a:pt x="0" y="1742"/>
                </a:cubicBezTo>
                <a:cubicBezTo>
                  <a:pt x="0" y="2692"/>
                  <a:pt x="792" y="3484"/>
                  <a:pt x="1742" y="3484"/>
                </a:cubicBezTo>
                <a:cubicBezTo>
                  <a:pt x="2724" y="3484"/>
                  <a:pt x="3484" y="2692"/>
                  <a:pt x="3484" y="1742"/>
                </a:cubicBezTo>
                <a:cubicBezTo>
                  <a:pt x="3484" y="761"/>
                  <a:pt x="2724" y="0"/>
                  <a:pt x="1742" y="0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372BFC7-51AC-3C74-120E-014BEAE72EB0}"/>
              </a:ext>
            </a:extLst>
          </p:cNvPr>
          <p:cNvSpPr txBox="1"/>
          <p:nvPr/>
        </p:nvSpPr>
        <p:spPr>
          <a:xfrm>
            <a:off x="4303572" y="1016910"/>
            <a:ext cx="109677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Model </a:t>
            </a:r>
            <a:r>
              <a:rPr lang="de-DE" sz="1000" dirty="0" err="1"/>
              <a:t>evaluation</a:t>
            </a:r>
            <a:endParaRPr lang="de-AT" sz="1000" dirty="0"/>
          </a:p>
        </p:txBody>
      </p:sp>
      <p:sp>
        <p:nvSpPr>
          <p:cNvPr id="40" name="Google Shape;2810;p31">
            <a:extLst>
              <a:ext uri="{FF2B5EF4-FFF2-40B4-BE49-F238E27FC236}">
                <a16:creationId xmlns:a16="http://schemas.microsoft.com/office/drawing/2014/main" id="{F2274921-1C48-77A9-A925-DBF284D897A1}"/>
              </a:ext>
            </a:extLst>
          </p:cNvPr>
          <p:cNvSpPr/>
          <p:nvPr/>
        </p:nvSpPr>
        <p:spPr>
          <a:xfrm>
            <a:off x="7797747" y="2146783"/>
            <a:ext cx="111096" cy="111128"/>
          </a:xfrm>
          <a:custGeom>
            <a:avLst/>
            <a:gdLst/>
            <a:ahLst/>
            <a:cxnLst/>
            <a:rect l="l" t="t" r="r" b="b"/>
            <a:pathLst>
              <a:path w="3484" h="3485" extrusionOk="0">
                <a:moveTo>
                  <a:pt x="1742" y="0"/>
                </a:moveTo>
                <a:cubicBezTo>
                  <a:pt x="792" y="0"/>
                  <a:pt x="0" y="761"/>
                  <a:pt x="0" y="1742"/>
                </a:cubicBezTo>
                <a:cubicBezTo>
                  <a:pt x="0" y="2692"/>
                  <a:pt x="792" y="3484"/>
                  <a:pt x="1742" y="3484"/>
                </a:cubicBezTo>
                <a:cubicBezTo>
                  <a:pt x="2724" y="3484"/>
                  <a:pt x="3484" y="2692"/>
                  <a:pt x="3484" y="1742"/>
                </a:cubicBezTo>
                <a:cubicBezTo>
                  <a:pt x="3484" y="761"/>
                  <a:pt x="2724" y="0"/>
                  <a:pt x="1742" y="0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3ECAD35-96DE-87EC-2AE2-57DF15DF1B00}"/>
              </a:ext>
            </a:extLst>
          </p:cNvPr>
          <p:cNvSpPr txBox="1"/>
          <p:nvPr/>
        </p:nvSpPr>
        <p:spPr>
          <a:xfrm>
            <a:off x="7908843" y="2227751"/>
            <a:ext cx="6214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/>
              <a:t>Deploy</a:t>
            </a:r>
            <a:endParaRPr lang="de-AT" sz="1200" dirty="0"/>
          </a:p>
        </p:txBody>
      </p:sp>
      <p:sp>
        <p:nvSpPr>
          <p:cNvPr id="42" name="Google Shape;2810;p31">
            <a:extLst>
              <a:ext uri="{FF2B5EF4-FFF2-40B4-BE49-F238E27FC236}">
                <a16:creationId xmlns:a16="http://schemas.microsoft.com/office/drawing/2014/main" id="{0F229591-160B-CD75-BA84-1DFE849C209B}"/>
              </a:ext>
            </a:extLst>
          </p:cNvPr>
          <p:cNvSpPr/>
          <p:nvPr/>
        </p:nvSpPr>
        <p:spPr>
          <a:xfrm>
            <a:off x="5387002" y="2079598"/>
            <a:ext cx="111096" cy="111128"/>
          </a:xfrm>
          <a:custGeom>
            <a:avLst/>
            <a:gdLst/>
            <a:ahLst/>
            <a:cxnLst/>
            <a:rect l="l" t="t" r="r" b="b"/>
            <a:pathLst>
              <a:path w="3484" h="3485" extrusionOk="0">
                <a:moveTo>
                  <a:pt x="1742" y="0"/>
                </a:moveTo>
                <a:cubicBezTo>
                  <a:pt x="792" y="0"/>
                  <a:pt x="0" y="761"/>
                  <a:pt x="0" y="1742"/>
                </a:cubicBezTo>
                <a:cubicBezTo>
                  <a:pt x="0" y="2692"/>
                  <a:pt x="792" y="3484"/>
                  <a:pt x="1742" y="3484"/>
                </a:cubicBezTo>
                <a:cubicBezTo>
                  <a:pt x="2724" y="3484"/>
                  <a:pt x="3484" y="2692"/>
                  <a:pt x="3484" y="1742"/>
                </a:cubicBezTo>
                <a:cubicBezTo>
                  <a:pt x="3484" y="761"/>
                  <a:pt x="2724" y="0"/>
                  <a:pt x="1742" y="0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0E3C44-A365-2D96-B979-654599B8A82C}"/>
              </a:ext>
            </a:extLst>
          </p:cNvPr>
          <p:cNvSpPr txBox="1"/>
          <p:nvPr/>
        </p:nvSpPr>
        <p:spPr>
          <a:xfrm>
            <a:off x="5366703" y="2255686"/>
            <a:ext cx="122180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Prompt Engineering</a:t>
            </a:r>
            <a:endParaRPr lang="de-AT" sz="1000" dirty="0"/>
          </a:p>
        </p:txBody>
      </p:sp>
      <p:sp>
        <p:nvSpPr>
          <p:cNvPr id="44" name="Google Shape;2810;p31">
            <a:extLst>
              <a:ext uri="{FF2B5EF4-FFF2-40B4-BE49-F238E27FC236}">
                <a16:creationId xmlns:a16="http://schemas.microsoft.com/office/drawing/2014/main" id="{CB3499D9-EA3F-F047-CE85-078CFDF092AE}"/>
              </a:ext>
            </a:extLst>
          </p:cNvPr>
          <p:cNvSpPr/>
          <p:nvPr/>
        </p:nvSpPr>
        <p:spPr>
          <a:xfrm>
            <a:off x="5660665" y="3459787"/>
            <a:ext cx="111096" cy="111128"/>
          </a:xfrm>
          <a:custGeom>
            <a:avLst/>
            <a:gdLst/>
            <a:ahLst/>
            <a:cxnLst/>
            <a:rect l="l" t="t" r="r" b="b"/>
            <a:pathLst>
              <a:path w="3484" h="3485" extrusionOk="0">
                <a:moveTo>
                  <a:pt x="1742" y="0"/>
                </a:moveTo>
                <a:cubicBezTo>
                  <a:pt x="792" y="0"/>
                  <a:pt x="0" y="761"/>
                  <a:pt x="0" y="1742"/>
                </a:cubicBezTo>
                <a:cubicBezTo>
                  <a:pt x="0" y="2692"/>
                  <a:pt x="792" y="3484"/>
                  <a:pt x="1742" y="3484"/>
                </a:cubicBezTo>
                <a:cubicBezTo>
                  <a:pt x="2724" y="3484"/>
                  <a:pt x="3484" y="2692"/>
                  <a:pt x="3484" y="1742"/>
                </a:cubicBezTo>
                <a:cubicBezTo>
                  <a:pt x="3484" y="761"/>
                  <a:pt x="2724" y="0"/>
                  <a:pt x="1742" y="0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C416A9A9-E408-C0D1-6BBD-BAE23B231846}"/>
              </a:ext>
            </a:extLst>
          </p:cNvPr>
          <p:cNvSpPr txBox="1"/>
          <p:nvPr/>
        </p:nvSpPr>
        <p:spPr>
          <a:xfrm>
            <a:off x="5168633" y="3679863"/>
            <a:ext cx="93166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Benchmarking</a:t>
            </a:r>
            <a:endParaRPr lang="de-AT" sz="1000" dirty="0"/>
          </a:p>
        </p:txBody>
      </p:sp>
      <p:sp>
        <p:nvSpPr>
          <p:cNvPr id="46" name="Google Shape;2810;p31">
            <a:extLst>
              <a:ext uri="{FF2B5EF4-FFF2-40B4-BE49-F238E27FC236}">
                <a16:creationId xmlns:a16="http://schemas.microsoft.com/office/drawing/2014/main" id="{26101A4C-86E8-D7CE-4F61-78C366E6EA5F}"/>
              </a:ext>
            </a:extLst>
          </p:cNvPr>
          <p:cNvSpPr/>
          <p:nvPr/>
        </p:nvSpPr>
        <p:spPr>
          <a:xfrm>
            <a:off x="9111011" y="3123579"/>
            <a:ext cx="111096" cy="111128"/>
          </a:xfrm>
          <a:custGeom>
            <a:avLst/>
            <a:gdLst/>
            <a:ahLst/>
            <a:cxnLst/>
            <a:rect l="l" t="t" r="r" b="b"/>
            <a:pathLst>
              <a:path w="3484" h="3485" extrusionOk="0">
                <a:moveTo>
                  <a:pt x="1742" y="0"/>
                </a:moveTo>
                <a:cubicBezTo>
                  <a:pt x="792" y="0"/>
                  <a:pt x="0" y="761"/>
                  <a:pt x="0" y="1742"/>
                </a:cubicBezTo>
                <a:cubicBezTo>
                  <a:pt x="0" y="2692"/>
                  <a:pt x="792" y="3484"/>
                  <a:pt x="1742" y="3484"/>
                </a:cubicBezTo>
                <a:cubicBezTo>
                  <a:pt x="2724" y="3484"/>
                  <a:pt x="3484" y="2692"/>
                  <a:pt x="3484" y="1742"/>
                </a:cubicBezTo>
                <a:cubicBezTo>
                  <a:pt x="3484" y="761"/>
                  <a:pt x="2724" y="0"/>
                  <a:pt x="1742" y="0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B58E432-91E1-C7BF-B049-CAFD938081D0}"/>
              </a:ext>
            </a:extLst>
          </p:cNvPr>
          <p:cNvSpPr txBox="1"/>
          <p:nvPr/>
        </p:nvSpPr>
        <p:spPr>
          <a:xfrm>
            <a:off x="8965418" y="3489689"/>
            <a:ext cx="76976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Monitoring</a:t>
            </a:r>
            <a:endParaRPr lang="de-AT" sz="1000" dirty="0"/>
          </a:p>
        </p:txBody>
      </p:sp>
      <p:sp>
        <p:nvSpPr>
          <p:cNvPr id="48" name="Google Shape;2810;p31">
            <a:extLst>
              <a:ext uri="{FF2B5EF4-FFF2-40B4-BE49-F238E27FC236}">
                <a16:creationId xmlns:a16="http://schemas.microsoft.com/office/drawing/2014/main" id="{AD304628-0FD9-3236-9E65-4047A5976708}"/>
              </a:ext>
            </a:extLst>
          </p:cNvPr>
          <p:cNvSpPr/>
          <p:nvPr/>
        </p:nvSpPr>
        <p:spPr>
          <a:xfrm>
            <a:off x="6345403" y="1540595"/>
            <a:ext cx="111096" cy="111128"/>
          </a:xfrm>
          <a:custGeom>
            <a:avLst/>
            <a:gdLst/>
            <a:ahLst/>
            <a:cxnLst/>
            <a:rect l="l" t="t" r="r" b="b"/>
            <a:pathLst>
              <a:path w="3484" h="3485" extrusionOk="0">
                <a:moveTo>
                  <a:pt x="1742" y="0"/>
                </a:moveTo>
                <a:cubicBezTo>
                  <a:pt x="792" y="0"/>
                  <a:pt x="0" y="761"/>
                  <a:pt x="0" y="1742"/>
                </a:cubicBezTo>
                <a:cubicBezTo>
                  <a:pt x="0" y="2692"/>
                  <a:pt x="792" y="3484"/>
                  <a:pt x="1742" y="3484"/>
                </a:cubicBezTo>
                <a:cubicBezTo>
                  <a:pt x="2724" y="3484"/>
                  <a:pt x="3484" y="2692"/>
                  <a:pt x="3484" y="1742"/>
                </a:cubicBezTo>
                <a:cubicBezTo>
                  <a:pt x="3484" y="761"/>
                  <a:pt x="2724" y="0"/>
                  <a:pt x="1742" y="0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75F81263-D4CC-C5D2-FE5D-D37D0D79B71A}"/>
              </a:ext>
            </a:extLst>
          </p:cNvPr>
          <p:cNvSpPr txBox="1"/>
          <p:nvPr/>
        </p:nvSpPr>
        <p:spPr>
          <a:xfrm>
            <a:off x="5865508" y="1451811"/>
            <a:ext cx="45236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Code</a:t>
            </a:r>
            <a:endParaRPr lang="de-AT" sz="1000" dirty="0"/>
          </a:p>
        </p:txBody>
      </p:sp>
      <p:sp>
        <p:nvSpPr>
          <p:cNvPr id="50" name="Google Shape;2810;p31">
            <a:extLst>
              <a:ext uri="{FF2B5EF4-FFF2-40B4-BE49-F238E27FC236}">
                <a16:creationId xmlns:a16="http://schemas.microsoft.com/office/drawing/2014/main" id="{DD8EBA44-3119-84ED-D448-6BA153B56440}"/>
              </a:ext>
            </a:extLst>
          </p:cNvPr>
          <p:cNvSpPr/>
          <p:nvPr/>
        </p:nvSpPr>
        <p:spPr>
          <a:xfrm>
            <a:off x="7137115" y="809909"/>
            <a:ext cx="111096" cy="111128"/>
          </a:xfrm>
          <a:custGeom>
            <a:avLst/>
            <a:gdLst/>
            <a:ahLst/>
            <a:cxnLst/>
            <a:rect l="l" t="t" r="r" b="b"/>
            <a:pathLst>
              <a:path w="3484" h="3485" extrusionOk="0">
                <a:moveTo>
                  <a:pt x="1742" y="0"/>
                </a:moveTo>
                <a:cubicBezTo>
                  <a:pt x="792" y="0"/>
                  <a:pt x="0" y="761"/>
                  <a:pt x="0" y="1742"/>
                </a:cubicBezTo>
                <a:cubicBezTo>
                  <a:pt x="0" y="2692"/>
                  <a:pt x="792" y="3484"/>
                  <a:pt x="1742" y="3484"/>
                </a:cubicBezTo>
                <a:cubicBezTo>
                  <a:pt x="2724" y="3484"/>
                  <a:pt x="3484" y="2692"/>
                  <a:pt x="3484" y="1742"/>
                </a:cubicBezTo>
                <a:cubicBezTo>
                  <a:pt x="3484" y="761"/>
                  <a:pt x="2724" y="0"/>
                  <a:pt x="1742" y="0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8D3718D8-7BC6-5458-A99D-9FA5F922A90E}"/>
              </a:ext>
            </a:extLst>
          </p:cNvPr>
          <p:cNvSpPr txBox="1"/>
          <p:nvPr/>
        </p:nvSpPr>
        <p:spPr>
          <a:xfrm>
            <a:off x="6691968" y="1051959"/>
            <a:ext cx="100540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err="1"/>
              <a:t>Defect</a:t>
            </a:r>
            <a:r>
              <a:rPr lang="de-DE" sz="1000" dirty="0"/>
              <a:t> </a:t>
            </a:r>
            <a:r>
              <a:rPr lang="de-DE" sz="1000" dirty="0" err="1"/>
              <a:t>handling</a:t>
            </a:r>
            <a:endParaRPr lang="de-AT" sz="1000" dirty="0"/>
          </a:p>
        </p:txBody>
      </p:sp>
      <p:sp>
        <p:nvSpPr>
          <p:cNvPr id="52" name="Google Shape;2810;p31">
            <a:extLst>
              <a:ext uri="{FF2B5EF4-FFF2-40B4-BE49-F238E27FC236}">
                <a16:creationId xmlns:a16="http://schemas.microsoft.com/office/drawing/2014/main" id="{8E31F322-3538-5495-AD46-8AFFD466693E}"/>
              </a:ext>
            </a:extLst>
          </p:cNvPr>
          <p:cNvSpPr/>
          <p:nvPr/>
        </p:nvSpPr>
        <p:spPr>
          <a:xfrm>
            <a:off x="6589423" y="3213813"/>
            <a:ext cx="111096" cy="111128"/>
          </a:xfrm>
          <a:custGeom>
            <a:avLst/>
            <a:gdLst/>
            <a:ahLst/>
            <a:cxnLst/>
            <a:rect l="l" t="t" r="r" b="b"/>
            <a:pathLst>
              <a:path w="3484" h="3485" extrusionOk="0">
                <a:moveTo>
                  <a:pt x="1742" y="0"/>
                </a:moveTo>
                <a:cubicBezTo>
                  <a:pt x="792" y="0"/>
                  <a:pt x="0" y="761"/>
                  <a:pt x="0" y="1742"/>
                </a:cubicBezTo>
                <a:cubicBezTo>
                  <a:pt x="0" y="2692"/>
                  <a:pt x="792" y="3484"/>
                  <a:pt x="1742" y="3484"/>
                </a:cubicBezTo>
                <a:cubicBezTo>
                  <a:pt x="2724" y="3484"/>
                  <a:pt x="3484" y="2692"/>
                  <a:pt x="3484" y="1742"/>
                </a:cubicBezTo>
                <a:cubicBezTo>
                  <a:pt x="3484" y="761"/>
                  <a:pt x="2724" y="0"/>
                  <a:pt x="1742" y="0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08DF80C1-02CB-4BE9-EFDC-9A9F9C465372}"/>
              </a:ext>
            </a:extLst>
          </p:cNvPr>
          <p:cNvSpPr txBox="1"/>
          <p:nvPr/>
        </p:nvSpPr>
        <p:spPr>
          <a:xfrm>
            <a:off x="6700949" y="3266417"/>
            <a:ext cx="108715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Human Feedback</a:t>
            </a:r>
            <a:endParaRPr lang="de-AT" sz="1000" dirty="0"/>
          </a:p>
        </p:txBody>
      </p:sp>
      <p:sp>
        <p:nvSpPr>
          <p:cNvPr id="54" name="Google Shape;2810;p31">
            <a:extLst>
              <a:ext uri="{FF2B5EF4-FFF2-40B4-BE49-F238E27FC236}">
                <a16:creationId xmlns:a16="http://schemas.microsoft.com/office/drawing/2014/main" id="{0E4C7597-F6E7-97A8-1F69-5F6642F3750C}"/>
              </a:ext>
            </a:extLst>
          </p:cNvPr>
          <p:cNvSpPr/>
          <p:nvPr/>
        </p:nvSpPr>
        <p:spPr>
          <a:xfrm>
            <a:off x="8255510" y="3449089"/>
            <a:ext cx="111096" cy="111128"/>
          </a:xfrm>
          <a:custGeom>
            <a:avLst/>
            <a:gdLst/>
            <a:ahLst/>
            <a:cxnLst/>
            <a:rect l="l" t="t" r="r" b="b"/>
            <a:pathLst>
              <a:path w="3484" h="3485" extrusionOk="0">
                <a:moveTo>
                  <a:pt x="1742" y="0"/>
                </a:moveTo>
                <a:cubicBezTo>
                  <a:pt x="792" y="0"/>
                  <a:pt x="0" y="761"/>
                  <a:pt x="0" y="1742"/>
                </a:cubicBezTo>
                <a:cubicBezTo>
                  <a:pt x="0" y="2692"/>
                  <a:pt x="792" y="3484"/>
                  <a:pt x="1742" y="3484"/>
                </a:cubicBezTo>
                <a:cubicBezTo>
                  <a:pt x="2724" y="3484"/>
                  <a:pt x="3484" y="2692"/>
                  <a:pt x="3484" y="1742"/>
                </a:cubicBezTo>
                <a:cubicBezTo>
                  <a:pt x="3484" y="761"/>
                  <a:pt x="2724" y="0"/>
                  <a:pt x="1742" y="0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EA6611E2-6F6C-A0BB-14B7-59DF9FA5733C}"/>
              </a:ext>
            </a:extLst>
          </p:cNvPr>
          <p:cNvSpPr txBox="1"/>
          <p:nvPr/>
        </p:nvSpPr>
        <p:spPr>
          <a:xfrm>
            <a:off x="7740275" y="3669945"/>
            <a:ext cx="9492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User Feedback</a:t>
            </a:r>
            <a:endParaRPr lang="de-AT" sz="1000" dirty="0"/>
          </a:p>
        </p:txBody>
      </p:sp>
      <p:sp>
        <p:nvSpPr>
          <p:cNvPr id="56" name="Google Shape;2810;p31">
            <a:extLst>
              <a:ext uri="{FF2B5EF4-FFF2-40B4-BE49-F238E27FC236}">
                <a16:creationId xmlns:a16="http://schemas.microsoft.com/office/drawing/2014/main" id="{D2F6EA1F-1412-7E18-61CF-4E8952CF2B3F}"/>
              </a:ext>
            </a:extLst>
          </p:cNvPr>
          <p:cNvSpPr/>
          <p:nvPr/>
        </p:nvSpPr>
        <p:spPr>
          <a:xfrm>
            <a:off x="7140285" y="2449186"/>
            <a:ext cx="111096" cy="111128"/>
          </a:xfrm>
          <a:custGeom>
            <a:avLst/>
            <a:gdLst/>
            <a:ahLst/>
            <a:cxnLst/>
            <a:rect l="l" t="t" r="r" b="b"/>
            <a:pathLst>
              <a:path w="3484" h="3485" extrusionOk="0">
                <a:moveTo>
                  <a:pt x="1742" y="0"/>
                </a:moveTo>
                <a:cubicBezTo>
                  <a:pt x="792" y="0"/>
                  <a:pt x="0" y="761"/>
                  <a:pt x="0" y="1742"/>
                </a:cubicBezTo>
                <a:cubicBezTo>
                  <a:pt x="0" y="2692"/>
                  <a:pt x="792" y="3484"/>
                  <a:pt x="1742" y="3484"/>
                </a:cubicBezTo>
                <a:cubicBezTo>
                  <a:pt x="2724" y="3484"/>
                  <a:pt x="3484" y="2692"/>
                  <a:pt x="3484" y="1742"/>
                </a:cubicBezTo>
                <a:cubicBezTo>
                  <a:pt x="3484" y="761"/>
                  <a:pt x="2724" y="0"/>
                  <a:pt x="1742" y="0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20DC2445-90B1-C04E-F90A-E09ABA661269}"/>
              </a:ext>
            </a:extLst>
          </p:cNvPr>
          <p:cNvSpPr txBox="1"/>
          <p:nvPr/>
        </p:nvSpPr>
        <p:spPr>
          <a:xfrm>
            <a:off x="6957557" y="2081708"/>
            <a:ext cx="48282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CI/CD</a:t>
            </a:r>
            <a:endParaRPr lang="de-AT" sz="1000" dirty="0"/>
          </a:p>
        </p:txBody>
      </p:sp>
      <p:sp>
        <p:nvSpPr>
          <p:cNvPr id="58" name="Google Shape;2810;p31">
            <a:extLst>
              <a:ext uri="{FF2B5EF4-FFF2-40B4-BE49-F238E27FC236}">
                <a16:creationId xmlns:a16="http://schemas.microsoft.com/office/drawing/2014/main" id="{4316B612-0D98-315A-5B92-6B73EE166AB9}"/>
              </a:ext>
            </a:extLst>
          </p:cNvPr>
          <p:cNvSpPr/>
          <p:nvPr/>
        </p:nvSpPr>
        <p:spPr>
          <a:xfrm>
            <a:off x="8417978" y="1860139"/>
            <a:ext cx="111096" cy="111128"/>
          </a:xfrm>
          <a:custGeom>
            <a:avLst/>
            <a:gdLst/>
            <a:ahLst/>
            <a:cxnLst/>
            <a:rect l="l" t="t" r="r" b="b"/>
            <a:pathLst>
              <a:path w="3484" h="3485" extrusionOk="0">
                <a:moveTo>
                  <a:pt x="1742" y="0"/>
                </a:moveTo>
                <a:cubicBezTo>
                  <a:pt x="792" y="0"/>
                  <a:pt x="0" y="761"/>
                  <a:pt x="0" y="1742"/>
                </a:cubicBezTo>
                <a:cubicBezTo>
                  <a:pt x="0" y="2692"/>
                  <a:pt x="792" y="3484"/>
                  <a:pt x="1742" y="3484"/>
                </a:cubicBezTo>
                <a:cubicBezTo>
                  <a:pt x="2724" y="3484"/>
                  <a:pt x="3484" y="2692"/>
                  <a:pt x="3484" y="1742"/>
                </a:cubicBezTo>
                <a:cubicBezTo>
                  <a:pt x="3484" y="761"/>
                  <a:pt x="2724" y="0"/>
                  <a:pt x="1742" y="0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AA34950-DD5C-420D-4FB0-ED96C6013804}"/>
              </a:ext>
            </a:extLst>
          </p:cNvPr>
          <p:cNvSpPr txBox="1"/>
          <p:nvPr/>
        </p:nvSpPr>
        <p:spPr>
          <a:xfrm>
            <a:off x="8197075" y="1549772"/>
            <a:ext cx="58541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err="1"/>
              <a:t>Logging</a:t>
            </a:r>
            <a:endParaRPr lang="de-AT" sz="1000" dirty="0"/>
          </a:p>
        </p:txBody>
      </p:sp>
      <p:sp>
        <p:nvSpPr>
          <p:cNvPr id="60" name="Google Shape;2810;p31">
            <a:extLst>
              <a:ext uri="{FF2B5EF4-FFF2-40B4-BE49-F238E27FC236}">
                <a16:creationId xmlns:a16="http://schemas.microsoft.com/office/drawing/2014/main" id="{CF2DA134-556C-58F7-767A-EBD604243A86}"/>
              </a:ext>
            </a:extLst>
          </p:cNvPr>
          <p:cNvSpPr/>
          <p:nvPr/>
        </p:nvSpPr>
        <p:spPr>
          <a:xfrm>
            <a:off x="4031438" y="3246632"/>
            <a:ext cx="111096" cy="111128"/>
          </a:xfrm>
          <a:custGeom>
            <a:avLst/>
            <a:gdLst/>
            <a:ahLst/>
            <a:cxnLst/>
            <a:rect l="l" t="t" r="r" b="b"/>
            <a:pathLst>
              <a:path w="3484" h="3485" extrusionOk="0">
                <a:moveTo>
                  <a:pt x="1742" y="0"/>
                </a:moveTo>
                <a:cubicBezTo>
                  <a:pt x="792" y="0"/>
                  <a:pt x="0" y="761"/>
                  <a:pt x="0" y="1742"/>
                </a:cubicBezTo>
                <a:cubicBezTo>
                  <a:pt x="0" y="2692"/>
                  <a:pt x="792" y="3484"/>
                  <a:pt x="1742" y="3484"/>
                </a:cubicBezTo>
                <a:cubicBezTo>
                  <a:pt x="2724" y="3484"/>
                  <a:pt x="3484" y="2692"/>
                  <a:pt x="3484" y="1742"/>
                </a:cubicBezTo>
                <a:cubicBezTo>
                  <a:pt x="3484" y="761"/>
                  <a:pt x="2724" y="0"/>
                  <a:pt x="1742" y="0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57611948-30EE-4304-5CD0-FA4C56794091}"/>
              </a:ext>
            </a:extLst>
          </p:cNvPr>
          <p:cNvSpPr txBox="1"/>
          <p:nvPr/>
        </p:nvSpPr>
        <p:spPr>
          <a:xfrm>
            <a:off x="3754152" y="3524273"/>
            <a:ext cx="115768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Data Management</a:t>
            </a:r>
            <a:endParaRPr lang="de-AT" sz="1000" dirty="0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D71D8782-7EFB-E1C9-46F9-AB3DD18A37AB}"/>
              </a:ext>
            </a:extLst>
          </p:cNvPr>
          <p:cNvSpPr txBox="1"/>
          <p:nvPr/>
        </p:nvSpPr>
        <p:spPr>
          <a:xfrm>
            <a:off x="2440765" y="169242"/>
            <a:ext cx="149072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/>
              <a:t>AI Business Analyst</a:t>
            </a:r>
            <a:endParaRPr lang="de-AT" sz="1400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00AA8A46-247B-2852-BDB8-FADB73C2DA1F}"/>
              </a:ext>
            </a:extLst>
          </p:cNvPr>
          <p:cNvSpPr txBox="1"/>
          <p:nvPr/>
        </p:nvSpPr>
        <p:spPr>
          <a:xfrm>
            <a:off x="8226220" y="170947"/>
            <a:ext cx="11125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 err="1"/>
              <a:t>DevOps</a:t>
            </a:r>
            <a:endParaRPr lang="de-AT" sz="1400" dirty="0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1F60FC3-F20B-8719-DFFB-90B50B4C07D0}"/>
              </a:ext>
            </a:extLst>
          </p:cNvPr>
          <p:cNvSpPr txBox="1"/>
          <p:nvPr/>
        </p:nvSpPr>
        <p:spPr>
          <a:xfrm>
            <a:off x="6219616" y="158401"/>
            <a:ext cx="14746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/>
              <a:t>Developer</a:t>
            </a:r>
            <a:endParaRPr lang="de-AT" sz="140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3EF145AB-96DB-B30E-3D6C-D1ABD9CECC40}"/>
              </a:ext>
            </a:extLst>
          </p:cNvPr>
          <p:cNvSpPr txBox="1"/>
          <p:nvPr/>
        </p:nvSpPr>
        <p:spPr>
          <a:xfrm>
            <a:off x="4309903" y="169241"/>
            <a:ext cx="14746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/>
              <a:t>LLM Engineer</a:t>
            </a:r>
            <a:endParaRPr lang="de-AT" sz="1400" dirty="0"/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3CC3C02E-DAEB-C2DF-6E7F-C856B343EB71}"/>
              </a:ext>
            </a:extLst>
          </p:cNvPr>
          <p:cNvSpPr txBox="1"/>
          <p:nvPr/>
        </p:nvSpPr>
        <p:spPr>
          <a:xfrm>
            <a:off x="8609157" y="-589217"/>
            <a:ext cx="3374357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000" dirty="0">
                <a:hlinkClick r:id="rId2"/>
              </a:rPr>
              <a:t>Service Catalogue - AI Solution - Confluence EG (s-mxs.net)</a:t>
            </a:r>
            <a:endParaRPr lang="de-AT" sz="1000" dirty="0"/>
          </a:p>
        </p:txBody>
      </p:sp>
      <p:sp>
        <p:nvSpPr>
          <p:cNvPr id="85" name="Google Shape;2810;p31">
            <a:extLst>
              <a:ext uri="{FF2B5EF4-FFF2-40B4-BE49-F238E27FC236}">
                <a16:creationId xmlns:a16="http://schemas.microsoft.com/office/drawing/2014/main" id="{6CE738E6-83F6-7E0B-3FE7-66E13E735C94}"/>
              </a:ext>
            </a:extLst>
          </p:cNvPr>
          <p:cNvSpPr/>
          <p:nvPr/>
        </p:nvSpPr>
        <p:spPr>
          <a:xfrm>
            <a:off x="4148441" y="2116750"/>
            <a:ext cx="111096" cy="111128"/>
          </a:xfrm>
          <a:custGeom>
            <a:avLst/>
            <a:gdLst/>
            <a:ahLst/>
            <a:cxnLst/>
            <a:rect l="l" t="t" r="r" b="b"/>
            <a:pathLst>
              <a:path w="3484" h="3485" extrusionOk="0">
                <a:moveTo>
                  <a:pt x="1742" y="0"/>
                </a:moveTo>
                <a:cubicBezTo>
                  <a:pt x="792" y="0"/>
                  <a:pt x="0" y="761"/>
                  <a:pt x="0" y="1742"/>
                </a:cubicBezTo>
                <a:cubicBezTo>
                  <a:pt x="0" y="2692"/>
                  <a:pt x="792" y="3484"/>
                  <a:pt x="1742" y="3484"/>
                </a:cubicBezTo>
                <a:cubicBezTo>
                  <a:pt x="2724" y="3484"/>
                  <a:pt x="3484" y="2692"/>
                  <a:pt x="3484" y="1742"/>
                </a:cubicBezTo>
                <a:cubicBezTo>
                  <a:pt x="3484" y="761"/>
                  <a:pt x="2724" y="0"/>
                  <a:pt x="1742" y="0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E5A35E15-F3C9-5541-343D-C3D6C755B24C}"/>
              </a:ext>
            </a:extLst>
          </p:cNvPr>
          <p:cNvSpPr txBox="1"/>
          <p:nvPr/>
        </p:nvSpPr>
        <p:spPr>
          <a:xfrm>
            <a:off x="4216686" y="1875177"/>
            <a:ext cx="82266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err="1"/>
              <a:t>Embeddings</a:t>
            </a:r>
            <a:endParaRPr lang="de-AT" sz="1000" dirty="0"/>
          </a:p>
        </p:txBody>
      </p:sp>
      <p:sp>
        <p:nvSpPr>
          <p:cNvPr id="87" name="Google Shape;2810;p31">
            <a:extLst>
              <a:ext uri="{FF2B5EF4-FFF2-40B4-BE49-F238E27FC236}">
                <a16:creationId xmlns:a16="http://schemas.microsoft.com/office/drawing/2014/main" id="{2BCCF192-4378-B776-D50A-4AD6714BC774}"/>
              </a:ext>
            </a:extLst>
          </p:cNvPr>
          <p:cNvSpPr/>
          <p:nvPr/>
        </p:nvSpPr>
        <p:spPr>
          <a:xfrm>
            <a:off x="5206925" y="3078433"/>
            <a:ext cx="111096" cy="111128"/>
          </a:xfrm>
          <a:custGeom>
            <a:avLst/>
            <a:gdLst/>
            <a:ahLst/>
            <a:cxnLst/>
            <a:rect l="l" t="t" r="r" b="b"/>
            <a:pathLst>
              <a:path w="3484" h="3485" extrusionOk="0">
                <a:moveTo>
                  <a:pt x="1742" y="0"/>
                </a:moveTo>
                <a:cubicBezTo>
                  <a:pt x="792" y="0"/>
                  <a:pt x="0" y="761"/>
                  <a:pt x="0" y="1742"/>
                </a:cubicBezTo>
                <a:cubicBezTo>
                  <a:pt x="0" y="2692"/>
                  <a:pt x="792" y="3484"/>
                  <a:pt x="1742" y="3484"/>
                </a:cubicBezTo>
                <a:cubicBezTo>
                  <a:pt x="2724" y="3484"/>
                  <a:pt x="3484" y="2692"/>
                  <a:pt x="3484" y="1742"/>
                </a:cubicBezTo>
                <a:cubicBezTo>
                  <a:pt x="3484" y="761"/>
                  <a:pt x="2724" y="0"/>
                  <a:pt x="1742" y="0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DE1C9E65-14D1-8690-A5DF-E58EF7F94424}"/>
              </a:ext>
            </a:extLst>
          </p:cNvPr>
          <p:cNvSpPr txBox="1"/>
          <p:nvPr/>
        </p:nvSpPr>
        <p:spPr>
          <a:xfrm>
            <a:off x="5327741" y="2950145"/>
            <a:ext cx="71045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Validation</a:t>
            </a:r>
            <a:endParaRPr lang="de-AT" sz="1000" dirty="0"/>
          </a:p>
        </p:txBody>
      </p:sp>
      <p:sp>
        <p:nvSpPr>
          <p:cNvPr id="89" name="Google Shape;2810;p31">
            <a:extLst>
              <a:ext uri="{FF2B5EF4-FFF2-40B4-BE49-F238E27FC236}">
                <a16:creationId xmlns:a16="http://schemas.microsoft.com/office/drawing/2014/main" id="{FAFE4E06-DDFB-7D87-280C-54089209F19F}"/>
              </a:ext>
            </a:extLst>
          </p:cNvPr>
          <p:cNvSpPr/>
          <p:nvPr/>
        </p:nvSpPr>
        <p:spPr>
          <a:xfrm>
            <a:off x="8897274" y="2009602"/>
            <a:ext cx="111096" cy="111128"/>
          </a:xfrm>
          <a:custGeom>
            <a:avLst/>
            <a:gdLst/>
            <a:ahLst/>
            <a:cxnLst/>
            <a:rect l="l" t="t" r="r" b="b"/>
            <a:pathLst>
              <a:path w="3484" h="3485" extrusionOk="0">
                <a:moveTo>
                  <a:pt x="1742" y="0"/>
                </a:moveTo>
                <a:cubicBezTo>
                  <a:pt x="792" y="0"/>
                  <a:pt x="0" y="761"/>
                  <a:pt x="0" y="1742"/>
                </a:cubicBezTo>
                <a:cubicBezTo>
                  <a:pt x="0" y="2692"/>
                  <a:pt x="792" y="3484"/>
                  <a:pt x="1742" y="3484"/>
                </a:cubicBezTo>
                <a:cubicBezTo>
                  <a:pt x="2724" y="3484"/>
                  <a:pt x="3484" y="2692"/>
                  <a:pt x="3484" y="1742"/>
                </a:cubicBezTo>
                <a:cubicBezTo>
                  <a:pt x="3484" y="761"/>
                  <a:pt x="2724" y="0"/>
                  <a:pt x="1742" y="0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EFF27984-697D-F924-133E-3AD51254502F}"/>
              </a:ext>
            </a:extLst>
          </p:cNvPr>
          <p:cNvSpPr txBox="1"/>
          <p:nvPr/>
        </p:nvSpPr>
        <p:spPr>
          <a:xfrm>
            <a:off x="8855553" y="1706860"/>
            <a:ext cx="84510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User Prompt</a:t>
            </a:r>
            <a:endParaRPr lang="de-AT" sz="1000" dirty="0"/>
          </a:p>
        </p:txBody>
      </p:sp>
      <p:sp>
        <p:nvSpPr>
          <p:cNvPr id="91" name="Google Shape;2822;p31">
            <a:extLst>
              <a:ext uri="{FF2B5EF4-FFF2-40B4-BE49-F238E27FC236}">
                <a16:creationId xmlns:a16="http://schemas.microsoft.com/office/drawing/2014/main" id="{537CF31B-9FCC-2E78-426E-BC754B828440}"/>
              </a:ext>
            </a:extLst>
          </p:cNvPr>
          <p:cNvSpPr txBox="1"/>
          <p:nvPr/>
        </p:nvSpPr>
        <p:spPr>
          <a:xfrm>
            <a:off x="401983" y="1323183"/>
            <a:ext cx="1776321" cy="6854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latin typeface="Fira Sans Medium"/>
                <a:ea typeface="Fira Sans Medium"/>
                <a:cs typeface="Fira Sans Medium"/>
                <a:sym typeface="Fira Sans Medium"/>
              </a:rPr>
              <a:t>LLMOps Roles </a:t>
            </a:r>
            <a:endParaRPr sz="2800" dirty="0">
              <a:latin typeface="Fira Sans Medium"/>
              <a:ea typeface="Fira Sans Medium"/>
              <a:cs typeface="Fira Sans Medium"/>
              <a:sym typeface="Fira Sans Medium"/>
            </a:endParaRPr>
          </a:p>
        </p:txBody>
      </p:sp>
      <p:graphicFrame>
        <p:nvGraphicFramePr>
          <p:cNvPr id="98" name="Table 98">
            <a:extLst>
              <a:ext uri="{FF2B5EF4-FFF2-40B4-BE49-F238E27FC236}">
                <a16:creationId xmlns:a16="http://schemas.microsoft.com/office/drawing/2014/main" id="{A7D45AC3-66FA-A0D9-FE88-2BBF7AB6432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7845864"/>
              </p:ext>
            </p:extLst>
          </p:nvPr>
        </p:nvGraphicFramePr>
        <p:xfrm>
          <a:off x="9945124" y="2895068"/>
          <a:ext cx="1923616" cy="29662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71016">
                  <a:extLst>
                    <a:ext uri="{9D8B030D-6E8A-4147-A177-3AD203B41FA5}">
                      <a16:colId xmlns:a16="http://schemas.microsoft.com/office/drawing/2014/main" val="3298697692"/>
                    </a:ext>
                  </a:extLst>
                </a:gridCol>
                <a:gridCol w="352600">
                  <a:extLst>
                    <a:ext uri="{9D8B030D-6E8A-4147-A177-3AD203B41FA5}">
                      <a16:colId xmlns:a16="http://schemas.microsoft.com/office/drawing/2014/main" val="376297841"/>
                    </a:ext>
                  </a:extLst>
                </a:gridCol>
              </a:tblGrid>
              <a:tr h="308028">
                <a:tc>
                  <a:txBody>
                    <a:bodyPr/>
                    <a:lstStyle/>
                    <a:p>
                      <a:r>
                        <a:rPr lang="de-DE" sz="1200" b="0" kern="1200" dirty="0">
                          <a:solidFill>
                            <a:srgbClr val="FFFFFF"/>
                          </a:solidFill>
                          <a:latin typeface="Fira Sans"/>
                        </a:rPr>
                        <a:t>AI Solution </a:t>
                      </a:r>
                      <a:r>
                        <a:rPr lang="de-DE" sz="1200" b="0" kern="1200" dirty="0" err="1">
                          <a:solidFill>
                            <a:srgbClr val="FFFFFF"/>
                          </a:solidFill>
                          <a:latin typeface="Fira Sans"/>
                        </a:rPr>
                        <a:t>Staffing</a:t>
                      </a:r>
                      <a:endParaRPr lang="de-DE" sz="1200" b="0" kern="1200" dirty="0">
                        <a:solidFill>
                          <a:srgbClr val="FFFFFF"/>
                        </a:solidFill>
                        <a:latin typeface="Fira Sans"/>
                      </a:endParaRPr>
                    </a:p>
                  </a:txBody>
                  <a:tcPr>
                    <a:lnL w="12700" cmpd="sng">
                      <a:noFill/>
                    </a:lnL>
                    <a:lnR w="38100" cap="flat" cmpd="sng" algn="ctr">
                      <a:solidFill>
                        <a:srgbClr val="F2A3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ap="flat" cmpd="sng" algn="ctr">
                      <a:solidFill>
                        <a:srgbClr val="F2A3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b="0" kern="1200" dirty="0">
                          <a:solidFill>
                            <a:srgbClr val="FFFFFF"/>
                          </a:solidFill>
                          <a:latin typeface="Fira Sans"/>
                        </a:rPr>
                        <a:t>#</a:t>
                      </a:r>
                    </a:p>
                  </a:txBody>
                  <a:tcPr>
                    <a:lnL w="38100" cap="flat" cmpd="sng" algn="ctr">
                      <a:solidFill>
                        <a:srgbClr val="F2A3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ap="flat" cmpd="sng" algn="ctr">
                      <a:solidFill>
                        <a:srgbClr val="F2A3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0089968"/>
                  </a:ext>
                </a:extLst>
              </a:tr>
              <a:tr h="308028">
                <a:tc>
                  <a:txBody>
                    <a:bodyPr/>
                    <a:lstStyle/>
                    <a:p>
                      <a:r>
                        <a:rPr lang="de-DE" sz="1100" kern="1200" dirty="0">
                          <a:solidFill>
                            <a:srgbClr val="FFFFFF"/>
                          </a:solidFill>
                          <a:latin typeface="Fira Sans"/>
                        </a:rPr>
                        <a:t>Line Manager</a:t>
                      </a:r>
                      <a:endParaRPr lang="de-AT" sz="1100" kern="1200" dirty="0">
                        <a:solidFill>
                          <a:srgbClr val="FFFFFF"/>
                        </a:solidFill>
                        <a:latin typeface="Fira Sans"/>
                      </a:endParaRPr>
                    </a:p>
                  </a:txBody>
                  <a:tcPr>
                    <a:lnL w="12700" cmpd="sng">
                      <a:noFill/>
                    </a:lnL>
                    <a:lnR w="38100" cap="flat" cmpd="sng" algn="ctr">
                      <a:solidFill>
                        <a:srgbClr val="F2A3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2A3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tint val="95000"/>
                        <a:satMod val="1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kern="1200">
                          <a:solidFill>
                            <a:srgbClr val="FFFFFF"/>
                          </a:solidFill>
                          <a:latin typeface="Fira Sans"/>
                        </a:rPr>
                        <a:t>1</a:t>
                      </a:r>
                      <a:endParaRPr lang="de-AT" sz="1100"/>
                    </a:p>
                  </a:txBody>
                  <a:tcPr>
                    <a:lnL w="38100" cap="flat" cmpd="sng" algn="ctr">
                      <a:solidFill>
                        <a:srgbClr val="F2A3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ap="flat" cmpd="sng" algn="ctr">
                      <a:solidFill>
                        <a:srgbClr val="F2A3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2377739"/>
                  </a:ext>
                </a:extLst>
              </a:tr>
              <a:tr h="308028">
                <a:tc>
                  <a:txBody>
                    <a:bodyPr/>
                    <a:lstStyle/>
                    <a:p>
                      <a:r>
                        <a:rPr lang="de-DE" sz="1100" kern="1200" dirty="0">
                          <a:solidFill>
                            <a:srgbClr val="FFFFFF"/>
                          </a:solidFill>
                          <a:latin typeface="Fira Sans"/>
                        </a:rPr>
                        <a:t>Solution Manager</a:t>
                      </a:r>
                      <a:endParaRPr lang="de-AT" sz="1100" kern="1200" dirty="0">
                        <a:solidFill>
                          <a:srgbClr val="FFFFFF"/>
                        </a:solidFill>
                        <a:latin typeface="Fira Sans"/>
                      </a:endParaRPr>
                    </a:p>
                  </a:txBody>
                  <a:tcPr>
                    <a:lnL w="12700" cmpd="sng">
                      <a:noFill/>
                    </a:lnL>
                    <a:lnR w="38100" cap="flat" cmpd="sng" algn="ctr">
                      <a:solidFill>
                        <a:srgbClr val="F2A3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kern="1200">
                          <a:solidFill>
                            <a:srgbClr val="FFFFFF"/>
                          </a:solidFill>
                          <a:latin typeface="Fira Sans"/>
                        </a:rPr>
                        <a:t>1</a:t>
                      </a:r>
                      <a:endParaRPr lang="de-AT" sz="1100"/>
                    </a:p>
                  </a:txBody>
                  <a:tcPr>
                    <a:lnL w="38100" cap="flat" cmpd="sng" algn="ctr">
                      <a:solidFill>
                        <a:srgbClr val="F2A3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8468485"/>
                  </a:ext>
                </a:extLst>
              </a:tr>
              <a:tr h="37976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kern="1200" dirty="0" err="1">
                          <a:solidFill>
                            <a:srgbClr val="FFFFFF"/>
                          </a:solidFill>
                          <a:latin typeface="Fira Sans"/>
                        </a:rPr>
                        <a:t>DevOps</a:t>
                      </a:r>
                      <a:endParaRPr lang="de-AT" sz="1100" kern="1200" dirty="0">
                        <a:solidFill>
                          <a:srgbClr val="FFFFFF"/>
                        </a:solidFill>
                        <a:latin typeface="Fira Sans"/>
                      </a:endParaRPr>
                    </a:p>
                    <a:p>
                      <a:endParaRPr lang="de-AT" sz="1100" kern="1200" dirty="0">
                        <a:solidFill>
                          <a:srgbClr val="FFFFFF"/>
                        </a:solidFill>
                        <a:latin typeface="Fira Sans"/>
                      </a:endParaRPr>
                    </a:p>
                  </a:txBody>
                  <a:tcPr>
                    <a:lnL w="12700" cmpd="sng">
                      <a:noFill/>
                    </a:lnL>
                    <a:lnR w="38100" cap="flat" cmpd="sng" algn="ctr">
                      <a:solidFill>
                        <a:srgbClr val="F2A3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kern="1200">
                          <a:solidFill>
                            <a:srgbClr val="FFFFFF"/>
                          </a:solidFill>
                          <a:latin typeface="Fira Sans"/>
                        </a:rPr>
                        <a:t>2</a:t>
                      </a:r>
                      <a:endParaRPr lang="de-AT" sz="1100"/>
                    </a:p>
                  </a:txBody>
                  <a:tcPr>
                    <a:lnL w="38100" cap="flat" cmpd="sng" algn="ctr">
                      <a:solidFill>
                        <a:srgbClr val="F2A3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5685202"/>
                  </a:ext>
                </a:extLst>
              </a:tr>
              <a:tr h="379761">
                <a:tc>
                  <a:txBody>
                    <a:bodyPr/>
                    <a:lstStyle/>
                    <a:p>
                      <a:r>
                        <a:rPr lang="de-DE" sz="1100" kern="1200" dirty="0">
                          <a:solidFill>
                            <a:srgbClr val="FFFFFF"/>
                          </a:solidFill>
                          <a:latin typeface="Fira Sans"/>
                        </a:rPr>
                        <a:t>Developer</a:t>
                      </a:r>
                      <a:endParaRPr lang="de-AT" sz="1100" kern="1200" dirty="0">
                        <a:solidFill>
                          <a:srgbClr val="FFFFFF"/>
                        </a:solidFill>
                        <a:latin typeface="Fira Sans"/>
                      </a:endParaRPr>
                    </a:p>
                    <a:p>
                      <a:endParaRPr lang="de-AT" sz="1100" kern="1200" dirty="0">
                        <a:solidFill>
                          <a:srgbClr val="FFFFFF"/>
                        </a:solidFill>
                        <a:latin typeface="Fira Sans"/>
                      </a:endParaRPr>
                    </a:p>
                  </a:txBody>
                  <a:tcPr>
                    <a:lnL w="12700" cmpd="sng">
                      <a:noFill/>
                    </a:lnL>
                    <a:lnR w="38100" cap="flat" cmpd="sng" algn="ctr">
                      <a:solidFill>
                        <a:srgbClr val="F2A3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kern="1200">
                          <a:solidFill>
                            <a:srgbClr val="FFFFFF"/>
                          </a:solidFill>
                          <a:latin typeface="Fira Sans"/>
                        </a:rPr>
                        <a:t>2</a:t>
                      </a:r>
                      <a:endParaRPr lang="de-AT" sz="1100"/>
                    </a:p>
                  </a:txBody>
                  <a:tcPr>
                    <a:lnL w="38100" cap="flat" cmpd="sng" algn="ctr">
                      <a:solidFill>
                        <a:srgbClr val="F2A3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2600478"/>
                  </a:ext>
                </a:extLst>
              </a:tr>
              <a:tr h="37976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kern="1200" dirty="0">
                          <a:solidFill>
                            <a:srgbClr val="FFFFFF"/>
                          </a:solidFill>
                          <a:latin typeface="Fira Sans"/>
                        </a:rPr>
                        <a:t>LLM Engineer</a:t>
                      </a:r>
                      <a:endParaRPr lang="de-AT" sz="1100" kern="1200" dirty="0">
                        <a:solidFill>
                          <a:srgbClr val="FFFFFF"/>
                        </a:solidFill>
                        <a:latin typeface="Fira Sans"/>
                      </a:endParaRPr>
                    </a:p>
                    <a:p>
                      <a:endParaRPr lang="de-AT" sz="1100" kern="1200" dirty="0">
                        <a:solidFill>
                          <a:srgbClr val="FFFFFF"/>
                        </a:solidFill>
                        <a:latin typeface="Fira Sans"/>
                      </a:endParaRPr>
                    </a:p>
                  </a:txBody>
                  <a:tcPr>
                    <a:lnL w="12700" cmpd="sng">
                      <a:noFill/>
                    </a:lnL>
                    <a:lnR w="38100" cap="flat" cmpd="sng" algn="ctr">
                      <a:solidFill>
                        <a:srgbClr val="F2A3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kern="1200">
                          <a:solidFill>
                            <a:srgbClr val="FFFFFF"/>
                          </a:solidFill>
                          <a:latin typeface="Fira Sans"/>
                        </a:rPr>
                        <a:t>2</a:t>
                      </a:r>
                      <a:endParaRPr lang="de-AT" sz="1100"/>
                    </a:p>
                  </a:txBody>
                  <a:tcPr>
                    <a:lnL w="38100" cap="flat" cmpd="sng" algn="ctr">
                      <a:solidFill>
                        <a:srgbClr val="F2A3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2754674"/>
                  </a:ext>
                </a:extLst>
              </a:tr>
              <a:tr h="37976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kern="1200" dirty="0">
                          <a:solidFill>
                            <a:srgbClr val="FFFFFF"/>
                          </a:solidFill>
                          <a:latin typeface="Fira Sans"/>
                        </a:rPr>
                        <a:t>AI Business Analyst</a:t>
                      </a:r>
                      <a:endParaRPr lang="de-AT" sz="1100" kern="1200" dirty="0">
                        <a:solidFill>
                          <a:srgbClr val="FFFFFF"/>
                        </a:solidFill>
                        <a:latin typeface="Fira Sans"/>
                      </a:endParaRPr>
                    </a:p>
                    <a:p>
                      <a:endParaRPr lang="de-AT" sz="1100" kern="1200" dirty="0">
                        <a:solidFill>
                          <a:srgbClr val="FFFFFF"/>
                        </a:solidFill>
                        <a:latin typeface="Fira Sans"/>
                      </a:endParaRPr>
                    </a:p>
                    <a:p>
                      <a:endParaRPr lang="de-AT" sz="1100" kern="1200" dirty="0">
                        <a:solidFill>
                          <a:srgbClr val="FFFFFF"/>
                        </a:solidFill>
                        <a:latin typeface="Fira Sans"/>
                      </a:endParaRPr>
                    </a:p>
                    <a:p>
                      <a:endParaRPr lang="de-AT" sz="1100" kern="1200" dirty="0">
                        <a:solidFill>
                          <a:srgbClr val="FFFFFF"/>
                        </a:solidFill>
                        <a:latin typeface="Fira Sans"/>
                      </a:endParaRPr>
                    </a:p>
                  </a:txBody>
                  <a:tcPr>
                    <a:lnL w="12700" cmpd="sng">
                      <a:noFill/>
                    </a:lnL>
                    <a:lnR w="38100" cap="flat" cmpd="sng" algn="ctr">
                      <a:solidFill>
                        <a:srgbClr val="F2A3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kern="1200" dirty="0">
                          <a:solidFill>
                            <a:srgbClr val="FFFFFF"/>
                          </a:solidFill>
                          <a:latin typeface="Fira Sans"/>
                        </a:rPr>
                        <a:t>2</a:t>
                      </a:r>
                      <a:endParaRPr lang="de-AT" sz="1100" dirty="0"/>
                    </a:p>
                  </a:txBody>
                  <a:tcPr>
                    <a:lnL w="38100" cap="flat" cmpd="sng" algn="ctr">
                      <a:solidFill>
                        <a:srgbClr val="F2A3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846715"/>
                  </a:ext>
                </a:extLst>
              </a:tr>
            </a:tbl>
          </a:graphicData>
        </a:graphic>
      </p:graphicFrame>
      <p:sp>
        <p:nvSpPr>
          <p:cNvPr id="99" name="Google Shape;2338;p27">
            <a:extLst>
              <a:ext uri="{FF2B5EF4-FFF2-40B4-BE49-F238E27FC236}">
                <a16:creationId xmlns:a16="http://schemas.microsoft.com/office/drawing/2014/main" id="{5F75945A-8497-D7A8-EBAE-3FEAFA8CBAF0}"/>
              </a:ext>
            </a:extLst>
          </p:cNvPr>
          <p:cNvSpPr/>
          <p:nvPr/>
        </p:nvSpPr>
        <p:spPr>
          <a:xfrm>
            <a:off x="2264192" y="5245195"/>
            <a:ext cx="7463856" cy="370849"/>
          </a:xfrm>
          <a:custGeom>
            <a:avLst/>
            <a:gdLst/>
            <a:ahLst/>
            <a:cxnLst/>
            <a:rect l="l" t="t" r="r" b="b"/>
            <a:pathLst>
              <a:path w="102863" h="11054" extrusionOk="0">
                <a:moveTo>
                  <a:pt x="1" y="1"/>
                </a:moveTo>
                <a:lnTo>
                  <a:pt x="1" y="11053"/>
                </a:lnTo>
                <a:lnTo>
                  <a:pt x="102862" y="11053"/>
                </a:lnTo>
                <a:lnTo>
                  <a:pt x="102862" y="1"/>
                </a:lnTo>
                <a:close/>
              </a:path>
            </a:pathLst>
          </a:custGeom>
          <a:solidFill>
            <a:srgbClr val="F2A365">
              <a:alpha val="7000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dirty="0">
              <a:solidFill>
                <a:srgbClr val="FFFFFF"/>
              </a:solidFill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100" name="Google Shape;2336;p27">
            <a:extLst>
              <a:ext uri="{FF2B5EF4-FFF2-40B4-BE49-F238E27FC236}">
                <a16:creationId xmlns:a16="http://schemas.microsoft.com/office/drawing/2014/main" id="{D0801A44-CC5F-DFE8-DBCD-7C93C38446E6}"/>
              </a:ext>
            </a:extLst>
          </p:cNvPr>
          <p:cNvSpPr/>
          <p:nvPr/>
        </p:nvSpPr>
        <p:spPr>
          <a:xfrm>
            <a:off x="2288582" y="6008464"/>
            <a:ext cx="7445956" cy="354691"/>
          </a:xfrm>
          <a:custGeom>
            <a:avLst/>
            <a:gdLst/>
            <a:ahLst/>
            <a:cxnLst/>
            <a:rect l="l" t="t" r="r" b="b"/>
            <a:pathLst>
              <a:path w="102863" h="11053" extrusionOk="0">
                <a:moveTo>
                  <a:pt x="1" y="1"/>
                </a:moveTo>
                <a:lnTo>
                  <a:pt x="1" y="11053"/>
                </a:lnTo>
                <a:lnTo>
                  <a:pt x="102862" y="11053"/>
                </a:lnTo>
                <a:lnTo>
                  <a:pt x="102862" y="1"/>
                </a:lnTo>
                <a:close/>
              </a:path>
            </a:pathLst>
          </a:custGeom>
          <a:solidFill>
            <a:srgbClr val="222831">
              <a:alpha val="7000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endParaRPr sz="1600" dirty="0">
              <a:sym typeface="Fira Sans"/>
            </a:endParaRPr>
          </a:p>
        </p:txBody>
      </p:sp>
      <p:sp>
        <p:nvSpPr>
          <p:cNvPr id="101" name="Google Shape;2337;p27">
            <a:extLst>
              <a:ext uri="{FF2B5EF4-FFF2-40B4-BE49-F238E27FC236}">
                <a16:creationId xmlns:a16="http://schemas.microsoft.com/office/drawing/2014/main" id="{30FE01D1-8EDB-E253-9DAD-11387C4C83B5}"/>
              </a:ext>
            </a:extLst>
          </p:cNvPr>
          <p:cNvSpPr/>
          <p:nvPr/>
        </p:nvSpPr>
        <p:spPr>
          <a:xfrm>
            <a:off x="2294004" y="4558324"/>
            <a:ext cx="7456594" cy="316005"/>
          </a:xfrm>
          <a:custGeom>
            <a:avLst/>
            <a:gdLst/>
            <a:ahLst/>
            <a:cxnLst/>
            <a:rect l="l" t="t" r="r" b="b"/>
            <a:pathLst>
              <a:path w="102863" h="11021" extrusionOk="0">
                <a:moveTo>
                  <a:pt x="1" y="0"/>
                </a:moveTo>
                <a:lnTo>
                  <a:pt x="1" y="11021"/>
                </a:lnTo>
                <a:lnTo>
                  <a:pt x="102862" y="11021"/>
                </a:lnTo>
                <a:lnTo>
                  <a:pt x="102862" y="0"/>
                </a:lnTo>
                <a:close/>
              </a:path>
            </a:pathLst>
          </a:custGeom>
          <a:solidFill>
            <a:srgbClr val="30475E">
              <a:alpha val="70000"/>
            </a:srgbClr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dirty="0">
              <a:solidFill>
                <a:srgbClr val="FFFFFF"/>
              </a:solidFill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102" name="Google Shape;2336;p27">
            <a:extLst>
              <a:ext uri="{FF2B5EF4-FFF2-40B4-BE49-F238E27FC236}">
                <a16:creationId xmlns:a16="http://schemas.microsoft.com/office/drawing/2014/main" id="{33078CBC-CE2F-EEB9-181A-6D94CE9F3EFB}"/>
              </a:ext>
            </a:extLst>
          </p:cNvPr>
          <p:cNvSpPr/>
          <p:nvPr/>
        </p:nvSpPr>
        <p:spPr>
          <a:xfrm>
            <a:off x="2272738" y="6375501"/>
            <a:ext cx="7446763" cy="354691"/>
          </a:xfrm>
          <a:custGeom>
            <a:avLst/>
            <a:gdLst/>
            <a:ahLst/>
            <a:cxnLst/>
            <a:rect l="l" t="t" r="r" b="b"/>
            <a:pathLst>
              <a:path w="102863" h="11053" extrusionOk="0">
                <a:moveTo>
                  <a:pt x="1" y="1"/>
                </a:moveTo>
                <a:lnTo>
                  <a:pt x="1" y="11053"/>
                </a:lnTo>
                <a:lnTo>
                  <a:pt x="102862" y="11053"/>
                </a:lnTo>
                <a:lnTo>
                  <a:pt x="102862" y="1"/>
                </a:lnTo>
                <a:close/>
              </a:path>
            </a:pathLst>
          </a:custGeom>
          <a:solidFill>
            <a:srgbClr val="222831"/>
          </a:solidFill>
          <a:ln w="25400">
            <a:solidFill>
              <a:schemeClr val="bg1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" sz="1600" dirty="0">
                <a:sym typeface="Fira Sans"/>
              </a:rPr>
              <a:t>Erste Digital</a:t>
            </a:r>
            <a:endParaRPr sz="1600" dirty="0">
              <a:sym typeface="Fira Sans"/>
            </a:endParaRPr>
          </a:p>
        </p:txBody>
      </p:sp>
      <p:sp>
        <p:nvSpPr>
          <p:cNvPr id="103" name="Google Shape;2337;p27">
            <a:extLst>
              <a:ext uri="{FF2B5EF4-FFF2-40B4-BE49-F238E27FC236}">
                <a16:creationId xmlns:a16="http://schemas.microsoft.com/office/drawing/2014/main" id="{F037A26F-AFBD-03B6-A604-89B4FCF133B6}"/>
              </a:ext>
            </a:extLst>
          </p:cNvPr>
          <p:cNvSpPr/>
          <p:nvPr/>
        </p:nvSpPr>
        <p:spPr>
          <a:xfrm>
            <a:off x="2266258" y="4883047"/>
            <a:ext cx="7453244" cy="347246"/>
          </a:xfrm>
          <a:custGeom>
            <a:avLst/>
            <a:gdLst/>
            <a:ahLst/>
            <a:cxnLst/>
            <a:rect l="l" t="t" r="r" b="b"/>
            <a:pathLst>
              <a:path w="102863" h="11021" extrusionOk="0">
                <a:moveTo>
                  <a:pt x="1" y="0"/>
                </a:moveTo>
                <a:lnTo>
                  <a:pt x="1" y="11021"/>
                </a:lnTo>
                <a:lnTo>
                  <a:pt x="102862" y="11021"/>
                </a:lnTo>
                <a:lnTo>
                  <a:pt x="102862" y="0"/>
                </a:lnTo>
                <a:close/>
              </a:path>
            </a:pathLst>
          </a:custGeom>
          <a:solidFill>
            <a:srgbClr val="30475E"/>
          </a:solidFill>
          <a:ln w="25400">
            <a:solidFill>
              <a:schemeClr val="bg1"/>
            </a:solidFill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 dirty="0">
                <a:solidFill>
                  <a:srgbClr val="FFFFFF"/>
                </a:solidFill>
                <a:latin typeface="Fira Sans"/>
                <a:ea typeface="Fira Sans"/>
                <a:cs typeface="Fira Sans"/>
                <a:sym typeface="Fira Sans"/>
              </a:rPr>
              <a:t>Solution Manager</a:t>
            </a:r>
            <a:endParaRPr sz="1600" dirty="0">
              <a:solidFill>
                <a:srgbClr val="FFFFFF"/>
              </a:solidFill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104" name="Google Shape;2338;p27">
            <a:extLst>
              <a:ext uri="{FF2B5EF4-FFF2-40B4-BE49-F238E27FC236}">
                <a16:creationId xmlns:a16="http://schemas.microsoft.com/office/drawing/2014/main" id="{6716B222-0EF3-7BE9-E86A-DEADC3DFE2E8}"/>
              </a:ext>
            </a:extLst>
          </p:cNvPr>
          <p:cNvSpPr/>
          <p:nvPr/>
        </p:nvSpPr>
        <p:spPr>
          <a:xfrm>
            <a:off x="2263183" y="5622071"/>
            <a:ext cx="7459350" cy="354723"/>
          </a:xfrm>
          <a:custGeom>
            <a:avLst/>
            <a:gdLst/>
            <a:ahLst/>
            <a:cxnLst/>
            <a:rect l="l" t="t" r="r" b="b"/>
            <a:pathLst>
              <a:path w="102863" h="11054" extrusionOk="0">
                <a:moveTo>
                  <a:pt x="1" y="1"/>
                </a:moveTo>
                <a:lnTo>
                  <a:pt x="1" y="11053"/>
                </a:lnTo>
                <a:lnTo>
                  <a:pt x="102862" y="11053"/>
                </a:lnTo>
                <a:lnTo>
                  <a:pt x="102862" y="1"/>
                </a:lnTo>
                <a:close/>
              </a:path>
            </a:pathLst>
          </a:custGeom>
          <a:solidFill>
            <a:srgbClr val="F2A365"/>
          </a:solidFill>
          <a:ln w="25400">
            <a:solidFill>
              <a:schemeClr val="bg1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 dirty="0">
                <a:solidFill>
                  <a:srgbClr val="FFFFFF"/>
                </a:solidFill>
                <a:latin typeface="Fira Sans"/>
                <a:ea typeface="Fira Sans"/>
                <a:cs typeface="Fira Sans"/>
                <a:sym typeface="Fira Sans"/>
              </a:rPr>
              <a:t>Line Management</a:t>
            </a:r>
            <a:endParaRPr sz="1600" dirty="0">
              <a:solidFill>
                <a:srgbClr val="FFFFFF"/>
              </a:solidFill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938ADA71-B615-5ED0-2704-CC2F6CAC9147}"/>
              </a:ext>
            </a:extLst>
          </p:cNvPr>
          <p:cNvSpPr txBox="1"/>
          <p:nvPr/>
        </p:nvSpPr>
        <p:spPr>
          <a:xfrm>
            <a:off x="8071811" y="5322264"/>
            <a:ext cx="81304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err="1"/>
              <a:t>Governance</a:t>
            </a:r>
            <a:endParaRPr lang="de-AT" sz="1000" dirty="0"/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446C3121-0D0A-DD2A-2D01-D0FFA84954D7}"/>
              </a:ext>
            </a:extLst>
          </p:cNvPr>
          <p:cNvSpPr txBox="1"/>
          <p:nvPr/>
        </p:nvSpPr>
        <p:spPr>
          <a:xfrm>
            <a:off x="6324014" y="6053643"/>
            <a:ext cx="90762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Infrastructure</a:t>
            </a:r>
            <a:endParaRPr lang="de-AT" sz="1000" dirty="0"/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079F3951-63B8-DA6A-4E75-349F6F272473}"/>
              </a:ext>
            </a:extLst>
          </p:cNvPr>
          <p:cNvSpPr txBox="1"/>
          <p:nvPr/>
        </p:nvSpPr>
        <p:spPr>
          <a:xfrm>
            <a:off x="7674014" y="6060572"/>
            <a:ext cx="186942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Service Desk: First Level Support</a:t>
            </a:r>
            <a:endParaRPr lang="de-AT" sz="1000" dirty="0"/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43AC90BA-785D-AF3F-A2FE-056E4D13C828}"/>
              </a:ext>
            </a:extLst>
          </p:cNvPr>
          <p:cNvSpPr txBox="1"/>
          <p:nvPr/>
        </p:nvSpPr>
        <p:spPr>
          <a:xfrm>
            <a:off x="4427495" y="6053643"/>
            <a:ext cx="60465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Security</a:t>
            </a:r>
            <a:endParaRPr lang="de-AT" sz="1000" dirty="0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D5339797-23AF-ECF5-9366-1A288EF06558}"/>
              </a:ext>
            </a:extLst>
          </p:cNvPr>
          <p:cNvSpPr txBox="1"/>
          <p:nvPr/>
        </p:nvSpPr>
        <p:spPr>
          <a:xfrm>
            <a:off x="2779690" y="6071683"/>
            <a:ext cx="74411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Innovation</a:t>
            </a:r>
            <a:endParaRPr lang="de-AT" sz="1000" dirty="0"/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EBFE64B0-503F-099B-CFAC-DF254F8E55FB}"/>
              </a:ext>
            </a:extLst>
          </p:cNvPr>
          <p:cNvSpPr txBox="1"/>
          <p:nvPr/>
        </p:nvSpPr>
        <p:spPr>
          <a:xfrm>
            <a:off x="7695484" y="4616560"/>
            <a:ext cx="172515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Controlling, </a:t>
            </a:r>
            <a:r>
              <a:rPr lang="de-DE" sz="1000" dirty="0" err="1"/>
              <a:t>Planning</a:t>
            </a:r>
            <a:r>
              <a:rPr lang="de-DE" sz="1000" dirty="0"/>
              <a:t>, </a:t>
            </a:r>
            <a:r>
              <a:rPr lang="de-DE" sz="1000" dirty="0" err="1"/>
              <a:t>Staffing</a:t>
            </a:r>
            <a:endParaRPr lang="de-AT" sz="1000" dirty="0"/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654EF777-6149-BD1E-8F4E-6A833598D0B7}"/>
              </a:ext>
            </a:extLst>
          </p:cNvPr>
          <p:cNvSpPr txBox="1"/>
          <p:nvPr/>
        </p:nvSpPr>
        <p:spPr>
          <a:xfrm>
            <a:off x="6059755" y="4607142"/>
            <a:ext cx="130837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Second Level Support</a:t>
            </a:r>
            <a:endParaRPr lang="de-AT" sz="1000" dirty="0"/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4B694414-F3BF-6BD4-CC08-70F565510FBB}"/>
              </a:ext>
            </a:extLst>
          </p:cNvPr>
          <p:cNvSpPr txBox="1"/>
          <p:nvPr/>
        </p:nvSpPr>
        <p:spPr>
          <a:xfrm>
            <a:off x="4243606" y="4617269"/>
            <a:ext cx="115448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User Management</a:t>
            </a:r>
            <a:endParaRPr lang="de-AT" sz="1000" dirty="0"/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61C1BB2A-739F-7956-7605-1DCBF7922043}"/>
              </a:ext>
            </a:extLst>
          </p:cNvPr>
          <p:cNvSpPr txBox="1"/>
          <p:nvPr/>
        </p:nvSpPr>
        <p:spPr>
          <a:xfrm>
            <a:off x="2641442" y="4607142"/>
            <a:ext cx="97975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err="1"/>
              <a:t>Cost</a:t>
            </a:r>
            <a:r>
              <a:rPr lang="de-DE" sz="1000" dirty="0"/>
              <a:t> </a:t>
            </a:r>
            <a:r>
              <a:rPr lang="de-DE" sz="1000" dirty="0" err="1"/>
              <a:t>allocation</a:t>
            </a:r>
            <a:endParaRPr lang="de-AT" sz="1000" dirty="0"/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4FAC1A3E-D2EF-A876-CE7D-90DDA4B19B46}"/>
              </a:ext>
            </a:extLst>
          </p:cNvPr>
          <p:cNvSpPr txBox="1"/>
          <p:nvPr/>
        </p:nvSpPr>
        <p:spPr>
          <a:xfrm>
            <a:off x="2463679" y="5316438"/>
            <a:ext cx="151948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/>
              <a:t>License Management</a:t>
            </a:r>
            <a:endParaRPr lang="de-AT" sz="1000" dirty="0"/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96C1C390-A03A-E3C4-D4FC-21FD26969C6B}"/>
              </a:ext>
            </a:extLst>
          </p:cNvPr>
          <p:cNvSpPr txBox="1"/>
          <p:nvPr/>
        </p:nvSpPr>
        <p:spPr>
          <a:xfrm>
            <a:off x="3969580" y="5316688"/>
            <a:ext cx="167866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err="1"/>
              <a:t>Enable</a:t>
            </a:r>
            <a:r>
              <a:rPr lang="de-DE" sz="1000" dirty="0"/>
              <a:t> </a:t>
            </a:r>
            <a:r>
              <a:rPr lang="de-DE" sz="1000" dirty="0" err="1"/>
              <a:t>cross</a:t>
            </a:r>
            <a:r>
              <a:rPr lang="de-DE" sz="1000" dirty="0"/>
              <a:t> </a:t>
            </a:r>
            <a:r>
              <a:rPr lang="de-DE" sz="1000" dirty="0" err="1"/>
              <a:t>funtional</a:t>
            </a:r>
            <a:r>
              <a:rPr lang="de-DE" sz="1000" dirty="0"/>
              <a:t> </a:t>
            </a:r>
            <a:r>
              <a:rPr lang="de-DE" sz="1000" dirty="0" err="1"/>
              <a:t>team</a:t>
            </a:r>
            <a:endParaRPr lang="de-AT" sz="1000" dirty="0"/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95318CD8-06CA-DA71-051C-BE3A318698EF}"/>
              </a:ext>
            </a:extLst>
          </p:cNvPr>
          <p:cNvSpPr txBox="1"/>
          <p:nvPr/>
        </p:nvSpPr>
        <p:spPr>
          <a:xfrm>
            <a:off x="5879999" y="5318884"/>
            <a:ext cx="181011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err="1"/>
              <a:t>Collaboration</a:t>
            </a:r>
            <a:r>
              <a:rPr lang="de-DE" sz="1000" dirty="0"/>
              <a:t> </a:t>
            </a:r>
            <a:r>
              <a:rPr lang="de-DE" sz="1000" dirty="0" err="1"/>
              <a:t>with</a:t>
            </a:r>
            <a:r>
              <a:rPr lang="de-DE" sz="1000" dirty="0"/>
              <a:t> all countries</a:t>
            </a:r>
            <a:endParaRPr lang="de-AT" sz="1000" dirty="0"/>
          </a:p>
        </p:txBody>
      </p: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A1147F40-230E-E5CA-5F67-7A55FF82E9A4}"/>
              </a:ext>
            </a:extLst>
          </p:cNvPr>
          <p:cNvCxnSpPr>
            <a:cxnSpLocks/>
          </p:cNvCxnSpPr>
          <p:nvPr/>
        </p:nvCxnSpPr>
        <p:spPr>
          <a:xfrm flipH="1">
            <a:off x="2255791" y="4539886"/>
            <a:ext cx="16074" cy="2045546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766B4A9D-220E-FD87-4833-5926580D8CF4}"/>
              </a:ext>
            </a:extLst>
          </p:cNvPr>
          <p:cNvCxnSpPr>
            <a:cxnSpLocks/>
          </p:cNvCxnSpPr>
          <p:nvPr/>
        </p:nvCxnSpPr>
        <p:spPr>
          <a:xfrm>
            <a:off x="9722532" y="4535813"/>
            <a:ext cx="16074" cy="2152879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04931201-D862-C6D9-D20B-1773A40C6EC0}"/>
              </a:ext>
            </a:extLst>
          </p:cNvPr>
          <p:cNvCxnSpPr>
            <a:cxnSpLocks/>
          </p:cNvCxnSpPr>
          <p:nvPr/>
        </p:nvCxnSpPr>
        <p:spPr>
          <a:xfrm>
            <a:off x="2273251" y="4535813"/>
            <a:ext cx="745664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ight Brace 2">
            <a:extLst>
              <a:ext uri="{FF2B5EF4-FFF2-40B4-BE49-F238E27FC236}">
                <a16:creationId xmlns:a16="http://schemas.microsoft.com/office/drawing/2014/main" id="{7AA094B1-03FA-2E6F-59CE-E2F5DC333260}"/>
              </a:ext>
            </a:extLst>
          </p:cNvPr>
          <p:cNvSpPr/>
          <p:nvPr/>
        </p:nvSpPr>
        <p:spPr>
          <a:xfrm rot="5400000">
            <a:off x="5838116" y="513655"/>
            <a:ext cx="316005" cy="7631937"/>
          </a:xfrm>
          <a:prstGeom prst="rightBrace">
            <a:avLst>
              <a:gd name="adj1" fmla="val 8333"/>
              <a:gd name="adj2" fmla="val 50127"/>
            </a:avLst>
          </a:prstGeom>
          <a:ln w="19050">
            <a:solidFill>
              <a:schemeClr val="tx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064477DE-671F-6C03-5F2C-A7B0A77037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BBE0597C-028E-473F-BF50-BBB8B8A24EC3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384858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F3F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1704;p21">
            <a:extLst>
              <a:ext uri="{FF2B5EF4-FFF2-40B4-BE49-F238E27FC236}">
                <a16:creationId xmlns:a16="http://schemas.microsoft.com/office/drawing/2014/main" id="{D451E6CE-58DA-892D-A03F-0BEA7C169947}"/>
              </a:ext>
            </a:extLst>
          </p:cNvPr>
          <p:cNvSpPr/>
          <p:nvPr/>
        </p:nvSpPr>
        <p:spPr>
          <a:xfrm>
            <a:off x="1924787" y="1739695"/>
            <a:ext cx="1664077" cy="3619705"/>
          </a:xfrm>
          <a:custGeom>
            <a:avLst/>
            <a:gdLst/>
            <a:ahLst/>
            <a:cxnLst/>
            <a:rect l="l" t="t" r="r" b="b"/>
            <a:pathLst>
              <a:path w="52160" h="30277" extrusionOk="0">
                <a:moveTo>
                  <a:pt x="4751" y="1"/>
                </a:moveTo>
                <a:cubicBezTo>
                  <a:pt x="2122" y="1"/>
                  <a:pt x="1" y="2123"/>
                  <a:pt x="1" y="4751"/>
                </a:cubicBezTo>
                <a:lnTo>
                  <a:pt x="1" y="25526"/>
                </a:lnTo>
                <a:cubicBezTo>
                  <a:pt x="1" y="28123"/>
                  <a:pt x="2122" y="30276"/>
                  <a:pt x="4751" y="30276"/>
                </a:cubicBezTo>
                <a:lnTo>
                  <a:pt x="47409" y="30276"/>
                </a:lnTo>
                <a:cubicBezTo>
                  <a:pt x="50006" y="30276"/>
                  <a:pt x="52159" y="28123"/>
                  <a:pt x="52159" y="25526"/>
                </a:cubicBezTo>
                <a:lnTo>
                  <a:pt x="52159" y="4751"/>
                </a:lnTo>
                <a:cubicBezTo>
                  <a:pt x="52159" y="2123"/>
                  <a:pt x="50006" y="1"/>
                  <a:pt x="47409" y="1"/>
                </a:cubicBezTo>
                <a:close/>
              </a:path>
            </a:pathLst>
          </a:custGeom>
          <a:noFill/>
          <a:ln w="25400">
            <a:solidFill>
              <a:schemeClr val="tx1">
                <a:lumMod val="75000"/>
              </a:scheme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bg1"/>
              </a:solidFill>
            </a:endParaRPr>
          </a:p>
        </p:txBody>
      </p:sp>
      <p:cxnSp>
        <p:nvCxnSpPr>
          <p:cNvPr id="350" name="Straight Arrow Connector 349">
            <a:extLst>
              <a:ext uri="{FF2B5EF4-FFF2-40B4-BE49-F238E27FC236}">
                <a16:creationId xmlns:a16="http://schemas.microsoft.com/office/drawing/2014/main" id="{47B07716-6426-ECA4-ABA8-5F07203A6E73}"/>
              </a:ext>
            </a:extLst>
          </p:cNvPr>
          <p:cNvCxnSpPr>
            <a:endCxn id="227" idx="2"/>
          </p:cNvCxnSpPr>
          <p:nvPr/>
        </p:nvCxnSpPr>
        <p:spPr>
          <a:xfrm rot="10800000">
            <a:off x="2751442" y="5770442"/>
            <a:ext cx="1664077" cy="356033"/>
          </a:xfrm>
          <a:prstGeom prst="bentConnector2">
            <a:avLst/>
          </a:prstGeom>
          <a:ln w="25400">
            <a:solidFill>
              <a:schemeClr val="tx1">
                <a:lumMod val="7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Arrow Connector 96">
            <a:extLst>
              <a:ext uri="{FF2B5EF4-FFF2-40B4-BE49-F238E27FC236}">
                <a16:creationId xmlns:a16="http://schemas.microsoft.com/office/drawing/2014/main" id="{0039F2A3-5014-9B0D-C508-4A2B248F133B}"/>
              </a:ext>
            </a:extLst>
          </p:cNvPr>
          <p:cNvCxnSpPr>
            <a:cxnSpLocks/>
          </p:cNvCxnSpPr>
          <p:nvPr/>
        </p:nvCxnSpPr>
        <p:spPr>
          <a:xfrm rot="16200000" flipH="1">
            <a:off x="5030342" y="3258900"/>
            <a:ext cx="1687723" cy="443350"/>
          </a:xfrm>
          <a:prstGeom prst="bentConnector3">
            <a:avLst>
              <a:gd name="adj1" fmla="val -370"/>
            </a:avLst>
          </a:prstGeom>
          <a:ln w="25400">
            <a:solidFill>
              <a:schemeClr val="tx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Arrow Connector 96">
            <a:extLst>
              <a:ext uri="{FF2B5EF4-FFF2-40B4-BE49-F238E27FC236}">
                <a16:creationId xmlns:a16="http://schemas.microsoft.com/office/drawing/2014/main" id="{CC08D38D-9623-0166-7464-B2F2B8526546}"/>
              </a:ext>
            </a:extLst>
          </p:cNvPr>
          <p:cNvCxnSpPr>
            <a:cxnSpLocks/>
          </p:cNvCxnSpPr>
          <p:nvPr/>
        </p:nvCxnSpPr>
        <p:spPr>
          <a:xfrm rot="16200000" flipH="1">
            <a:off x="5126108" y="3329311"/>
            <a:ext cx="1209101" cy="721676"/>
          </a:xfrm>
          <a:prstGeom prst="bentConnector3">
            <a:avLst>
              <a:gd name="adj1" fmla="val 4703"/>
            </a:avLst>
          </a:prstGeom>
          <a:ln w="25400">
            <a:solidFill>
              <a:schemeClr val="tx1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96">
            <a:extLst>
              <a:ext uri="{FF2B5EF4-FFF2-40B4-BE49-F238E27FC236}">
                <a16:creationId xmlns:a16="http://schemas.microsoft.com/office/drawing/2014/main" id="{CCECE255-C911-AA1E-27CD-02714A0D0C79}"/>
              </a:ext>
            </a:extLst>
          </p:cNvPr>
          <p:cNvCxnSpPr>
            <a:cxnSpLocks/>
          </p:cNvCxnSpPr>
          <p:nvPr/>
        </p:nvCxnSpPr>
        <p:spPr>
          <a:xfrm rot="16200000" flipH="1">
            <a:off x="5522684" y="3739392"/>
            <a:ext cx="591089" cy="556426"/>
          </a:xfrm>
          <a:prstGeom prst="bentConnector3">
            <a:avLst>
              <a:gd name="adj1" fmla="val -7609"/>
            </a:avLst>
          </a:prstGeom>
          <a:ln w="25400">
            <a:solidFill>
              <a:schemeClr val="tx1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Straight Arrow Connector 191">
            <a:extLst>
              <a:ext uri="{FF2B5EF4-FFF2-40B4-BE49-F238E27FC236}">
                <a16:creationId xmlns:a16="http://schemas.microsoft.com/office/drawing/2014/main" id="{B219B014-A8C6-422F-EA33-EB4CED919188}"/>
              </a:ext>
            </a:extLst>
          </p:cNvPr>
          <p:cNvCxnSpPr>
            <a:cxnSpLocks/>
          </p:cNvCxnSpPr>
          <p:nvPr/>
        </p:nvCxnSpPr>
        <p:spPr>
          <a:xfrm flipV="1">
            <a:off x="3301396" y="4600046"/>
            <a:ext cx="784879" cy="296163"/>
          </a:xfrm>
          <a:prstGeom prst="bentConnector3">
            <a:avLst>
              <a:gd name="adj1" fmla="val 50000"/>
            </a:avLst>
          </a:prstGeom>
          <a:ln w="25400">
            <a:solidFill>
              <a:schemeClr val="tx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3" name="Straight Arrow Connector 282">
            <a:extLst>
              <a:ext uri="{FF2B5EF4-FFF2-40B4-BE49-F238E27FC236}">
                <a16:creationId xmlns:a16="http://schemas.microsoft.com/office/drawing/2014/main" id="{87554D3B-19BC-2071-BDC2-249984177CDA}"/>
              </a:ext>
            </a:extLst>
          </p:cNvPr>
          <p:cNvCxnSpPr>
            <a:cxnSpLocks/>
          </p:cNvCxnSpPr>
          <p:nvPr/>
        </p:nvCxnSpPr>
        <p:spPr>
          <a:xfrm>
            <a:off x="9784612" y="3416430"/>
            <a:ext cx="684095" cy="6053"/>
          </a:xfrm>
          <a:prstGeom prst="straightConnector1">
            <a:avLst/>
          </a:prstGeom>
          <a:ln w="25400">
            <a:solidFill>
              <a:schemeClr val="tx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0" name="Straight Arrow Connector 279">
            <a:extLst>
              <a:ext uri="{FF2B5EF4-FFF2-40B4-BE49-F238E27FC236}">
                <a16:creationId xmlns:a16="http://schemas.microsoft.com/office/drawing/2014/main" id="{7A6F18D9-9484-FCDE-C434-C8170A1D9CF2}"/>
              </a:ext>
            </a:extLst>
          </p:cNvPr>
          <p:cNvCxnSpPr>
            <a:cxnSpLocks/>
          </p:cNvCxnSpPr>
          <p:nvPr/>
        </p:nvCxnSpPr>
        <p:spPr>
          <a:xfrm rot="10800000" flipV="1">
            <a:off x="7334251" y="6126468"/>
            <a:ext cx="609203" cy="7"/>
          </a:xfrm>
          <a:prstGeom prst="bentConnector3">
            <a:avLst>
              <a:gd name="adj1" fmla="val 50000"/>
            </a:avLst>
          </a:prstGeom>
          <a:ln w="25400">
            <a:solidFill>
              <a:schemeClr val="tx1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8" name="Straight Arrow Connector 277">
            <a:extLst>
              <a:ext uri="{FF2B5EF4-FFF2-40B4-BE49-F238E27FC236}">
                <a16:creationId xmlns:a16="http://schemas.microsoft.com/office/drawing/2014/main" id="{24651F93-4E03-F412-06EC-44CE3C32E11E}"/>
              </a:ext>
            </a:extLst>
          </p:cNvPr>
          <p:cNvCxnSpPr>
            <a:cxnSpLocks/>
          </p:cNvCxnSpPr>
          <p:nvPr/>
        </p:nvCxnSpPr>
        <p:spPr>
          <a:xfrm rot="10800000" flipV="1">
            <a:off x="2761106" y="5294766"/>
            <a:ext cx="5090584" cy="1339339"/>
          </a:xfrm>
          <a:prstGeom prst="bentConnector3">
            <a:avLst>
              <a:gd name="adj1" fmla="val 10146"/>
            </a:avLst>
          </a:prstGeom>
          <a:ln w="25400">
            <a:solidFill>
              <a:schemeClr val="tx1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9" name="Straight Arrow Connector 268">
            <a:extLst>
              <a:ext uri="{FF2B5EF4-FFF2-40B4-BE49-F238E27FC236}">
                <a16:creationId xmlns:a16="http://schemas.microsoft.com/office/drawing/2014/main" id="{4848C0EA-587C-69C6-FC43-97688CB8A6F9}"/>
              </a:ext>
            </a:extLst>
          </p:cNvPr>
          <p:cNvCxnSpPr>
            <a:cxnSpLocks/>
          </p:cNvCxnSpPr>
          <p:nvPr/>
        </p:nvCxnSpPr>
        <p:spPr>
          <a:xfrm flipV="1">
            <a:off x="6139543" y="5008683"/>
            <a:ext cx="704387" cy="966284"/>
          </a:xfrm>
          <a:prstGeom prst="straightConnector1">
            <a:avLst/>
          </a:prstGeom>
          <a:ln w="25400">
            <a:solidFill>
              <a:schemeClr val="tx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8" name="Straight Connector 287">
            <a:extLst>
              <a:ext uri="{FF2B5EF4-FFF2-40B4-BE49-F238E27FC236}">
                <a16:creationId xmlns:a16="http://schemas.microsoft.com/office/drawing/2014/main" id="{488BE554-98E8-EA6F-773F-1070DE5A3CBC}"/>
              </a:ext>
            </a:extLst>
          </p:cNvPr>
          <p:cNvCxnSpPr>
            <a:cxnSpLocks/>
          </p:cNvCxnSpPr>
          <p:nvPr/>
        </p:nvCxnSpPr>
        <p:spPr>
          <a:xfrm flipV="1">
            <a:off x="11152474" y="2845382"/>
            <a:ext cx="0" cy="328905"/>
          </a:xfrm>
          <a:prstGeom prst="line">
            <a:avLst/>
          </a:prstGeom>
          <a:ln w="25400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5" name="Straight Arrow Connector 254">
            <a:extLst>
              <a:ext uri="{FF2B5EF4-FFF2-40B4-BE49-F238E27FC236}">
                <a16:creationId xmlns:a16="http://schemas.microsoft.com/office/drawing/2014/main" id="{56B13913-25D8-DFAE-B440-D65A70859DC4}"/>
              </a:ext>
            </a:extLst>
          </p:cNvPr>
          <p:cNvCxnSpPr>
            <a:cxnSpLocks/>
          </p:cNvCxnSpPr>
          <p:nvPr/>
        </p:nvCxnSpPr>
        <p:spPr>
          <a:xfrm flipV="1">
            <a:off x="8021094" y="3417519"/>
            <a:ext cx="645413" cy="4964"/>
          </a:xfrm>
          <a:prstGeom prst="straightConnector1">
            <a:avLst/>
          </a:prstGeom>
          <a:ln w="25400">
            <a:solidFill>
              <a:schemeClr val="tx1">
                <a:lumMod val="85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6" name="Straight Arrow Connector 265">
            <a:extLst>
              <a:ext uri="{FF2B5EF4-FFF2-40B4-BE49-F238E27FC236}">
                <a16:creationId xmlns:a16="http://schemas.microsoft.com/office/drawing/2014/main" id="{19CC9C4A-69B4-ED66-3635-2F0EE8DBC40D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7507832" y="3539550"/>
            <a:ext cx="2424022" cy="596356"/>
          </a:xfrm>
          <a:prstGeom prst="bentConnector3">
            <a:avLst>
              <a:gd name="adj1" fmla="val 88246"/>
            </a:avLst>
          </a:prstGeom>
          <a:ln w="25400">
            <a:solidFill>
              <a:schemeClr val="tx1">
                <a:lumMod val="85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2" name="Straight Arrow Connector 261">
            <a:extLst>
              <a:ext uri="{FF2B5EF4-FFF2-40B4-BE49-F238E27FC236}">
                <a16:creationId xmlns:a16="http://schemas.microsoft.com/office/drawing/2014/main" id="{A49F2E58-D3D1-672E-7240-71C94FCAC83A}"/>
              </a:ext>
            </a:extLst>
          </p:cNvPr>
          <p:cNvCxnSpPr>
            <a:cxnSpLocks/>
          </p:cNvCxnSpPr>
          <p:nvPr/>
        </p:nvCxnSpPr>
        <p:spPr>
          <a:xfrm flipV="1">
            <a:off x="7835348" y="2372335"/>
            <a:ext cx="820042" cy="525610"/>
          </a:xfrm>
          <a:prstGeom prst="bentConnector3">
            <a:avLst>
              <a:gd name="adj1" fmla="val 5572"/>
            </a:avLst>
          </a:prstGeom>
          <a:ln w="25400">
            <a:solidFill>
              <a:schemeClr val="tx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9" name="Straight Arrow Connector 248">
            <a:extLst>
              <a:ext uri="{FF2B5EF4-FFF2-40B4-BE49-F238E27FC236}">
                <a16:creationId xmlns:a16="http://schemas.microsoft.com/office/drawing/2014/main" id="{D38AD63F-A6E1-2D38-5533-D62724DA5957}"/>
              </a:ext>
            </a:extLst>
          </p:cNvPr>
          <p:cNvCxnSpPr>
            <a:cxnSpLocks/>
          </p:cNvCxnSpPr>
          <p:nvPr/>
        </p:nvCxnSpPr>
        <p:spPr>
          <a:xfrm flipV="1">
            <a:off x="9343956" y="2636713"/>
            <a:ext cx="0" cy="558353"/>
          </a:xfrm>
          <a:prstGeom prst="straightConnector1">
            <a:avLst/>
          </a:prstGeom>
          <a:ln w="25400">
            <a:solidFill>
              <a:schemeClr val="tx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2" name="Straight Arrow Connector 241">
            <a:extLst>
              <a:ext uri="{FF2B5EF4-FFF2-40B4-BE49-F238E27FC236}">
                <a16:creationId xmlns:a16="http://schemas.microsoft.com/office/drawing/2014/main" id="{911657E1-B6FB-926E-C608-2E0DF0CF0203}"/>
              </a:ext>
            </a:extLst>
          </p:cNvPr>
          <p:cNvCxnSpPr>
            <a:cxnSpLocks/>
          </p:cNvCxnSpPr>
          <p:nvPr/>
        </p:nvCxnSpPr>
        <p:spPr>
          <a:xfrm>
            <a:off x="7599289" y="1871519"/>
            <a:ext cx="9467" cy="952671"/>
          </a:xfrm>
          <a:prstGeom prst="straightConnector1">
            <a:avLst/>
          </a:prstGeom>
          <a:ln w="25400">
            <a:solidFill>
              <a:schemeClr val="tx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Straight Arrow Connector 236">
            <a:extLst>
              <a:ext uri="{FF2B5EF4-FFF2-40B4-BE49-F238E27FC236}">
                <a16:creationId xmlns:a16="http://schemas.microsoft.com/office/drawing/2014/main" id="{D74973B0-79E3-8BEB-9225-FF67F974E40B}"/>
              </a:ext>
            </a:extLst>
          </p:cNvPr>
          <p:cNvCxnSpPr>
            <a:cxnSpLocks/>
            <a:stCxn id="121" idx="3"/>
          </p:cNvCxnSpPr>
          <p:nvPr/>
        </p:nvCxnSpPr>
        <p:spPr>
          <a:xfrm>
            <a:off x="8188607" y="1776791"/>
            <a:ext cx="1113857" cy="386025"/>
          </a:xfrm>
          <a:prstGeom prst="bentConnector3">
            <a:avLst>
              <a:gd name="adj1" fmla="val 100025"/>
            </a:avLst>
          </a:prstGeom>
          <a:ln w="25400">
            <a:solidFill>
              <a:schemeClr val="tx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Straight Arrow Connector 183">
            <a:extLst>
              <a:ext uri="{FF2B5EF4-FFF2-40B4-BE49-F238E27FC236}">
                <a16:creationId xmlns:a16="http://schemas.microsoft.com/office/drawing/2014/main" id="{F5FCD512-7D40-63AD-B1AD-AAB27FB51D13}"/>
              </a:ext>
            </a:extLst>
          </p:cNvPr>
          <p:cNvCxnSpPr>
            <a:cxnSpLocks/>
          </p:cNvCxnSpPr>
          <p:nvPr/>
        </p:nvCxnSpPr>
        <p:spPr>
          <a:xfrm>
            <a:off x="1560774" y="4915850"/>
            <a:ext cx="511768" cy="0"/>
          </a:xfrm>
          <a:prstGeom prst="straightConnector1">
            <a:avLst/>
          </a:prstGeom>
          <a:ln w="25400">
            <a:solidFill>
              <a:schemeClr val="tx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Straight Arrow Connector 187">
            <a:extLst>
              <a:ext uri="{FF2B5EF4-FFF2-40B4-BE49-F238E27FC236}">
                <a16:creationId xmlns:a16="http://schemas.microsoft.com/office/drawing/2014/main" id="{788987E3-360B-3AF6-FE73-D5802F5DCEC5}"/>
              </a:ext>
            </a:extLst>
          </p:cNvPr>
          <p:cNvCxnSpPr>
            <a:cxnSpLocks/>
          </p:cNvCxnSpPr>
          <p:nvPr/>
        </p:nvCxnSpPr>
        <p:spPr>
          <a:xfrm>
            <a:off x="2767990" y="4376434"/>
            <a:ext cx="0" cy="331661"/>
          </a:xfrm>
          <a:prstGeom prst="straightConnector1">
            <a:avLst/>
          </a:prstGeom>
          <a:ln w="25400">
            <a:solidFill>
              <a:schemeClr val="tx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Arrow Connector 161">
            <a:extLst>
              <a:ext uri="{FF2B5EF4-FFF2-40B4-BE49-F238E27FC236}">
                <a16:creationId xmlns:a16="http://schemas.microsoft.com/office/drawing/2014/main" id="{75259CAB-451F-9E40-5D4D-C94F0320D95B}"/>
              </a:ext>
            </a:extLst>
          </p:cNvPr>
          <p:cNvCxnSpPr>
            <a:cxnSpLocks/>
          </p:cNvCxnSpPr>
          <p:nvPr/>
        </p:nvCxnSpPr>
        <p:spPr>
          <a:xfrm>
            <a:off x="3224020" y="2790084"/>
            <a:ext cx="1264683" cy="363728"/>
          </a:xfrm>
          <a:prstGeom prst="bentConnector3">
            <a:avLst>
              <a:gd name="adj1" fmla="val 67323"/>
            </a:avLst>
          </a:prstGeom>
          <a:ln w="25400">
            <a:solidFill>
              <a:schemeClr val="tx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Arrow Connector 149">
            <a:extLst>
              <a:ext uri="{FF2B5EF4-FFF2-40B4-BE49-F238E27FC236}">
                <a16:creationId xmlns:a16="http://schemas.microsoft.com/office/drawing/2014/main" id="{44E97D3D-0890-FE8B-15C1-AE3BF87761E5}"/>
              </a:ext>
            </a:extLst>
          </p:cNvPr>
          <p:cNvCxnSpPr>
            <a:cxnSpLocks/>
            <a:stCxn id="47" idx="3"/>
          </p:cNvCxnSpPr>
          <p:nvPr/>
        </p:nvCxnSpPr>
        <p:spPr>
          <a:xfrm>
            <a:off x="3265142" y="3449993"/>
            <a:ext cx="1240822" cy="246434"/>
          </a:xfrm>
          <a:prstGeom prst="bentConnector3">
            <a:avLst>
              <a:gd name="adj1" fmla="val 65967"/>
            </a:avLst>
          </a:prstGeom>
          <a:ln w="25400">
            <a:solidFill>
              <a:schemeClr val="tx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Arrow Connector 161">
            <a:extLst>
              <a:ext uri="{FF2B5EF4-FFF2-40B4-BE49-F238E27FC236}">
                <a16:creationId xmlns:a16="http://schemas.microsoft.com/office/drawing/2014/main" id="{BB4D960E-C11C-EA91-3A75-1E51CF82B2A1}"/>
              </a:ext>
            </a:extLst>
          </p:cNvPr>
          <p:cNvCxnSpPr>
            <a:cxnSpLocks/>
          </p:cNvCxnSpPr>
          <p:nvPr/>
        </p:nvCxnSpPr>
        <p:spPr>
          <a:xfrm>
            <a:off x="3244668" y="2182785"/>
            <a:ext cx="1232774" cy="453708"/>
          </a:xfrm>
          <a:prstGeom prst="bentConnector3">
            <a:avLst>
              <a:gd name="adj1" fmla="val 67307"/>
            </a:avLst>
          </a:prstGeom>
          <a:ln w="25400">
            <a:solidFill>
              <a:schemeClr val="tx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Google Shape;1704;p21">
            <a:extLst>
              <a:ext uri="{FF2B5EF4-FFF2-40B4-BE49-F238E27FC236}">
                <a16:creationId xmlns:a16="http://schemas.microsoft.com/office/drawing/2014/main" id="{0F7F4026-394B-9999-1301-B9D922DA213B}"/>
              </a:ext>
            </a:extLst>
          </p:cNvPr>
          <p:cNvSpPr/>
          <p:nvPr/>
        </p:nvSpPr>
        <p:spPr>
          <a:xfrm>
            <a:off x="3804760" y="1683798"/>
            <a:ext cx="2761194" cy="3610970"/>
          </a:xfrm>
          <a:custGeom>
            <a:avLst/>
            <a:gdLst/>
            <a:ahLst/>
            <a:cxnLst/>
            <a:rect l="l" t="t" r="r" b="b"/>
            <a:pathLst>
              <a:path w="52160" h="30277" extrusionOk="0">
                <a:moveTo>
                  <a:pt x="4751" y="1"/>
                </a:moveTo>
                <a:cubicBezTo>
                  <a:pt x="2122" y="1"/>
                  <a:pt x="1" y="2123"/>
                  <a:pt x="1" y="4751"/>
                </a:cubicBezTo>
                <a:lnTo>
                  <a:pt x="1" y="25526"/>
                </a:lnTo>
                <a:cubicBezTo>
                  <a:pt x="1" y="28123"/>
                  <a:pt x="2122" y="30276"/>
                  <a:pt x="4751" y="30276"/>
                </a:cubicBezTo>
                <a:lnTo>
                  <a:pt x="47409" y="30276"/>
                </a:lnTo>
                <a:cubicBezTo>
                  <a:pt x="50006" y="30276"/>
                  <a:pt x="52159" y="28123"/>
                  <a:pt x="52159" y="25526"/>
                </a:cubicBezTo>
                <a:lnTo>
                  <a:pt x="52159" y="4751"/>
                </a:lnTo>
                <a:cubicBezTo>
                  <a:pt x="52159" y="2123"/>
                  <a:pt x="50006" y="1"/>
                  <a:pt x="47409" y="1"/>
                </a:cubicBezTo>
                <a:close/>
              </a:path>
            </a:pathLst>
          </a:custGeom>
          <a:noFill/>
          <a:ln w="25400">
            <a:solidFill>
              <a:schemeClr val="tx1">
                <a:lumMod val="75000"/>
              </a:scheme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bg1"/>
              </a:solidFill>
            </a:endParaRPr>
          </a:p>
        </p:txBody>
      </p:sp>
      <p:sp>
        <p:nvSpPr>
          <p:cNvPr id="5" name="Google Shape;1712;p21">
            <a:extLst>
              <a:ext uri="{FF2B5EF4-FFF2-40B4-BE49-F238E27FC236}">
                <a16:creationId xmlns:a16="http://schemas.microsoft.com/office/drawing/2014/main" id="{B8855461-5CDF-B9F7-3E29-DB8DCF68BB00}"/>
              </a:ext>
            </a:extLst>
          </p:cNvPr>
          <p:cNvSpPr txBox="1"/>
          <p:nvPr/>
        </p:nvSpPr>
        <p:spPr>
          <a:xfrm>
            <a:off x="3844457" y="1786374"/>
            <a:ext cx="2682749" cy="3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latin typeface="Fira Sans Medium"/>
                <a:ea typeface="Fira Sans Medium"/>
                <a:cs typeface="Fira Sans Medium"/>
                <a:sym typeface="Fira Sans Medium"/>
              </a:rPr>
              <a:t>DEV LLM APP</a:t>
            </a:r>
            <a:endParaRPr sz="1800" dirty="0">
              <a:latin typeface="Fira Sans Medium"/>
              <a:ea typeface="Fira Sans Medium"/>
              <a:cs typeface="Fira Sans Medium"/>
              <a:sym typeface="Fira Sans Medium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079CF51E-33CA-DBB5-B904-94C7A3820813}"/>
              </a:ext>
            </a:extLst>
          </p:cNvPr>
          <p:cNvGrpSpPr/>
          <p:nvPr/>
        </p:nvGrpSpPr>
        <p:grpSpPr>
          <a:xfrm>
            <a:off x="4086276" y="4328761"/>
            <a:ext cx="2239220" cy="545015"/>
            <a:chOff x="2410169" y="2785569"/>
            <a:chExt cx="2677226" cy="953109"/>
          </a:xfrm>
        </p:grpSpPr>
        <p:sp>
          <p:nvSpPr>
            <p:cNvPr id="10" name="Google Shape;1706;p21">
              <a:extLst>
                <a:ext uri="{FF2B5EF4-FFF2-40B4-BE49-F238E27FC236}">
                  <a16:creationId xmlns:a16="http://schemas.microsoft.com/office/drawing/2014/main" id="{12DEEC35-4DC7-47A4-0315-B1BE6D07E323}"/>
                </a:ext>
              </a:extLst>
            </p:cNvPr>
            <p:cNvSpPr/>
            <p:nvPr/>
          </p:nvSpPr>
          <p:spPr>
            <a:xfrm>
              <a:off x="2410169" y="2785569"/>
              <a:ext cx="2677226" cy="953109"/>
            </a:xfrm>
            <a:custGeom>
              <a:avLst/>
              <a:gdLst/>
              <a:ahLst/>
              <a:cxnLst/>
              <a:rect l="l" t="t" r="r" b="b"/>
              <a:pathLst>
                <a:path w="52160" h="30245" extrusionOk="0">
                  <a:moveTo>
                    <a:pt x="4751" y="0"/>
                  </a:moveTo>
                  <a:cubicBezTo>
                    <a:pt x="2122" y="0"/>
                    <a:pt x="1" y="2122"/>
                    <a:pt x="1" y="4751"/>
                  </a:cubicBezTo>
                  <a:lnTo>
                    <a:pt x="1" y="25494"/>
                  </a:lnTo>
                  <a:cubicBezTo>
                    <a:pt x="1" y="28122"/>
                    <a:pt x="2122" y="30244"/>
                    <a:pt x="4751" y="30244"/>
                  </a:cubicBezTo>
                  <a:lnTo>
                    <a:pt x="47409" y="30244"/>
                  </a:lnTo>
                  <a:cubicBezTo>
                    <a:pt x="50006" y="30244"/>
                    <a:pt x="52159" y="28122"/>
                    <a:pt x="52159" y="25494"/>
                  </a:cubicBezTo>
                  <a:lnTo>
                    <a:pt x="52159" y="4751"/>
                  </a:lnTo>
                  <a:cubicBezTo>
                    <a:pt x="52159" y="2122"/>
                    <a:pt x="50006" y="0"/>
                    <a:pt x="47409" y="0"/>
                  </a:cubicBezTo>
                  <a:close/>
                </a:path>
              </a:pathLst>
            </a:custGeom>
            <a:solidFill>
              <a:srgbClr val="F7F9F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>
                <a:solidFill>
                  <a:schemeClr val="bg1"/>
                </a:solidFill>
              </a:endParaRPr>
            </a:p>
          </p:txBody>
        </p:sp>
        <p:sp>
          <p:nvSpPr>
            <p:cNvPr id="12" name="Google Shape;1714;p21">
              <a:extLst>
                <a:ext uri="{FF2B5EF4-FFF2-40B4-BE49-F238E27FC236}">
                  <a16:creationId xmlns:a16="http://schemas.microsoft.com/office/drawing/2014/main" id="{22CED25A-A0BC-E901-7177-7CFBEEF2EB70}"/>
                </a:ext>
              </a:extLst>
            </p:cNvPr>
            <p:cNvSpPr txBox="1"/>
            <p:nvPr/>
          </p:nvSpPr>
          <p:spPr>
            <a:xfrm>
              <a:off x="2718818" y="3093376"/>
              <a:ext cx="2024058" cy="35556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 dirty="0">
                  <a:solidFill>
                    <a:schemeClr val="bg1"/>
                  </a:solidFill>
                  <a:latin typeface="Fira Sans Medium"/>
                  <a:sym typeface="Fira Sans Medium"/>
                </a:rPr>
                <a:t>Final Model</a:t>
              </a:r>
              <a:endParaRPr sz="1200" dirty="0">
                <a:solidFill>
                  <a:schemeClr val="bg1"/>
                </a:solidFill>
                <a:latin typeface="Fira Sans Medium"/>
                <a:sym typeface="Fira Sans Medium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0651ECEB-1594-CF87-4237-A95113451337}"/>
              </a:ext>
            </a:extLst>
          </p:cNvPr>
          <p:cNvGrpSpPr/>
          <p:nvPr/>
        </p:nvGrpSpPr>
        <p:grpSpPr>
          <a:xfrm>
            <a:off x="4517321" y="773323"/>
            <a:ext cx="1483432" cy="478117"/>
            <a:chOff x="2656416" y="3731549"/>
            <a:chExt cx="1483432" cy="481862"/>
          </a:xfrm>
        </p:grpSpPr>
        <p:sp>
          <p:nvSpPr>
            <p:cNvPr id="32" name="Google Shape;1706;p21">
              <a:extLst>
                <a:ext uri="{FF2B5EF4-FFF2-40B4-BE49-F238E27FC236}">
                  <a16:creationId xmlns:a16="http://schemas.microsoft.com/office/drawing/2014/main" id="{57D176B7-BA00-0019-C4F5-A4CCA45366F8}"/>
                </a:ext>
              </a:extLst>
            </p:cNvPr>
            <p:cNvSpPr/>
            <p:nvPr/>
          </p:nvSpPr>
          <p:spPr>
            <a:xfrm>
              <a:off x="2671912" y="3731549"/>
              <a:ext cx="1346136" cy="481862"/>
            </a:xfrm>
            <a:custGeom>
              <a:avLst/>
              <a:gdLst/>
              <a:ahLst/>
              <a:cxnLst/>
              <a:rect l="l" t="t" r="r" b="b"/>
              <a:pathLst>
                <a:path w="52160" h="30245" extrusionOk="0">
                  <a:moveTo>
                    <a:pt x="4751" y="0"/>
                  </a:moveTo>
                  <a:cubicBezTo>
                    <a:pt x="2122" y="0"/>
                    <a:pt x="1" y="2122"/>
                    <a:pt x="1" y="4751"/>
                  </a:cubicBezTo>
                  <a:lnTo>
                    <a:pt x="1" y="25494"/>
                  </a:lnTo>
                  <a:cubicBezTo>
                    <a:pt x="1" y="28122"/>
                    <a:pt x="2122" y="30244"/>
                    <a:pt x="4751" y="30244"/>
                  </a:cubicBezTo>
                  <a:lnTo>
                    <a:pt x="47409" y="30244"/>
                  </a:lnTo>
                  <a:cubicBezTo>
                    <a:pt x="50006" y="30244"/>
                    <a:pt x="52159" y="28122"/>
                    <a:pt x="52159" y="25494"/>
                  </a:cubicBezTo>
                  <a:lnTo>
                    <a:pt x="52159" y="4751"/>
                  </a:lnTo>
                  <a:cubicBezTo>
                    <a:pt x="52159" y="2122"/>
                    <a:pt x="50006" y="0"/>
                    <a:pt x="47409" y="0"/>
                  </a:cubicBezTo>
                  <a:close/>
                </a:path>
              </a:pathLst>
            </a:custGeom>
            <a:solidFill>
              <a:srgbClr val="F7F9F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chemeClr val="bg1"/>
                </a:solidFill>
              </a:endParaRPr>
            </a:p>
          </p:txBody>
        </p:sp>
        <p:sp>
          <p:nvSpPr>
            <p:cNvPr id="33" name="Google Shape;1707;p21">
              <a:extLst>
                <a:ext uri="{FF2B5EF4-FFF2-40B4-BE49-F238E27FC236}">
                  <a16:creationId xmlns:a16="http://schemas.microsoft.com/office/drawing/2014/main" id="{777EFD25-2A57-EF12-D343-09E54C2961B8}"/>
                </a:ext>
              </a:extLst>
            </p:cNvPr>
            <p:cNvSpPr/>
            <p:nvPr/>
          </p:nvSpPr>
          <p:spPr>
            <a:xfrm>
              <a:off x="2656416" y="3731549"/>
              <a:ext cx="201930" cy="481862"/>
            </a:xfrm>
            <a:custGeom>
              <a:avLst/>
              <a:gdLst/>
              <a:ahLst/>
              <a:cxnLst/>
              <a:rect l="l" t="t" r="r" b="b"/>
              <a:pathLst>
                <a:path w="13429" h="30245" extrusionOk="0">
                  <a:moveTo>
                    <a:pt x="4751" y="0"/>
                  </a:moveTo>
                  <a:cubicBezTo>
                    <a:pt x="2154" y="0"/>
                    <a:pt x="1" y="2122"/>
                    <a:pt x="1" y="4751"/>
                  </a:cubicBezTo>
                  <a:lnTo>
                    <a:pt x="1" y="25494"/>
                  </a:lnTo>
                  <a:cubicBezTo>
                    <a:pt x="1" y="28122"/>
                    <a:pt x="2154" y="30244"/>
                    <a:pt x="4751" y="30244"/>
                  </a:cubicBezTo>
                  <a:lnTo>
                    <a:pt x="13428" y="30244"/>
                  </a:lnTo>
                  <a:lnTo>
                    <a:pt x="13428" y="0"/>
                  </a:lnTo>
                  <a:close/>
                </a:path>
              </a:pathLst>
            </a:custGeom>
            <a:solidFill>
              <a:srgbClr val="A9DDF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/>
              <a:endParaRPr sz="3000" dirty="0">
                <a:solidFill>
                  <a:schemeClr val="bg1"/>
                </a:solidFill>
                <a:latin typeface="Fira Sans SemiBold"/>
                <a:sym typeface="Fira Sans SemiBold"/>
              </a:endParaRPr>
            </a:p>
          </p:txBody>
        </p:sp>
        <p:sp>
          <p:nvSpPr>
            <p:cNvPr id="34" name="Google Shape;1714;p21">
              <a:extLst>
                <a:ext uri="{FF2B5EF4-FFF2-40B4-BE49-F238E27FC236}">
                  <a16:creationId xmlns:a16="http://schemas.microsoft.com/office/drawing/2014/main" id="{99100F8E-190C-4F11-9E04-F62FFE3FB65A}"/>
                </a:ext>
              </a:extLst>
            </p:cNvPr>
            <p:cNvSpPr txBox="1"/>
            <p:nvPr/>
          </p:nvSpPr>
          <p:spPr>
            <a:xfrm>
              <a:off x="2949153" y="3915508"/>
              <a:ext cx="1190695" cy="13095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 dirty="0">
                  <a:solidFill>
                    <a:schemeClr val="bg1"/>
                  </a:solidFill>
                  <a:latin typeface="Fira Sans Medium"/>
                  <a:sym typeface="Fira Sans Medium"/>
                </a:rPr>
                <a:t>Test Prompts</a:t>
              </a:r>
              <a:endParaRPr sz="1200" dirty="0">
                <a:solidFill>
                  <a:schemeClr val="bg1"/>
                </a:solidFill>
                <a:latin typeface="Fira Sans Medium"/>
                <a:sym typeface="Fira Sans Medium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4C04DD36-AC5A-1471-7C6A-9FF5EDB0CB80}"/>
              </a:ext>
            </a:extLst>
          </p:cNvPr>
          <p:cNvGrpSpPr/>
          <p:nvPr/>
        </p:nvGrpSpPr>
        <p:grpSpPr>
          <a:xfrm>
            <a:off x="2072542" y="4670156"/>
            <a:ext cx="1619687" cy="481862"/>
            <a:chOff x="2656416" y="5349093"/>
            <a:chExt cx="1619687" cy="481862"/>
          </a:xfrm>
        </p:grpSpPr>
        <p:sp>
          <p:nvSpPr>
            <p:cNvPr id="38" name="Google Shape;1706;p21">
              <a:extLst>
                <a:ext uri="{FF2B5EF4-FFF2-40B4-BE49-F238E27FC236}">
                  <a16:creationId xmlns:a16="http://schemas.microsoft.com/office/drawing/2014/main" id="{AFF9A695-927F-247F-E282-9045D97CA9AC}"/>
                </a:ext>
              </a:extLst>
            </p:cNvPr>
            <p:cNvSpPr/>
            <p:nvPr/>
          </p:nvSpPr>
          <p:spPr>
            <a:xfrm>
              <a:off x="2671912" y="5349093"/>
              <a:ext cx="1346136" cy="481862"/>
            </a:xfrm>
            <a:custGeom>
              <a:avLst/>
              <a:gdLst/>
              <a:ahLst/>
              <a:cxnLst/>
              <a:rect l="l" t="t" r="r" b="b"/>
              <a:pathLst>
                <a:path w="52160" h="30245" extrusionOk="0">
                  <a:moveTo>
                    <a:pt x="4751" y="0"/>
                  </a:moveTo>
                  <a:cubicBezTo>
                    <a:pt x="2122" y="0"/>
                    <a:pt x="1" y="2122"/>
                    <a:pt x="1" y="4751"/>
                  </a:cubicBezTo>
                  <a:lnTo>
                    <a:pt x="1" y="25494"/>
                  </a:lnTo>
                  <a:cubicBezTo>
                    <a:pt x="1" y="28122"/>
                    <a:pt x="2122" y="30244"/>
                    <a:pt x="4751" y="30244"/>
                  </a:cubicBezTo>
                  <a:lnTo>
                    <a:pt x="47409" y="30244"/>
                  </a:lnTo>
                  <a:cubicBezTo>
                    <a:pt x="50006" y="30244"/>
                    <a:pt x="52159" y="28122"/>
                    <a:pt x="52159" y="25494"/>
                  </a:cubicBezTo>
                  <a:lnTo>
                    <a:pt x="52159" y="4751"/>
                  </a:lnTo>
                  <a:cubicBezTo>
                    <a:pt x="52159" y="2122"/>
                    <a:pt x="50006" y="0"/>
                    <a:pt x="47409" y="0"/>
                  </a:cubicBezTo>
                  <a:close/>
                </a:path>
              </a:pathLst>
            </a:custGeom>
            <a:solidFill>
              <a:srgbClr val="F7F9F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>
                <a:solidFill>
                  <a:schemeClr val="bg1"/>
                </a:solidFill>
              </a:endParaRPr>
            </a:p>
          </p:txBody>
        </p:sp>
        <p:sp>
          <p:nvSpPr>
            <p:cNvPr id="39" name="Google Shape;1707;p21">
              <a:extLst>
                <a:ext uri="{FF2B5EF4-FFF2-40B4-BE49-F238E27FC236}">
                  <a16:creationId xmlns:a16="http://schemas.microsoft.com/office/drawing/2014/main" id="{44D00D0B-B124-AF3A-B58B-C9B8B28269F0}"/>
                </a:ext>
              </a:extLst>
            </p:cNvPr>
            <p:cNvSpPr/>
            <p:nvPr/>
          </p:nvSpPr>
          <p:spPr>
            <a:xfrm>
              <a:off x="2656416" y="5349093"/>
              <a:ext cx="201930" cy="481862"/>
            </a:xfrm>
            <a:custGeom>
              <a:avLst/>
              <a:gdLst/>
              <a:ahLst/>
              <a:cxnLst/>
              <a:rect l="l" t="t" r="r" b="b"/>
              <a:pathLst>
                <a:path w="13429" h="30245" extrusionOk="0">
                  <a:moveTo>
                    <a:pt x="4751" y="0"/>
                  </a:moveTo>
                  <a:cubicBezTo>
                    <a:pt x="2154" y="0"/>
                    <a:pt x="1" y="2122"/>
                    <a:pt x="1" y="4751"/>
                  </a:cubicBezTo>
                  <a:lnTo>
                    <a:pt x="1" y="25494"/>
                  </a:lnTo>
                  <a:cubicBezTo>
                    <a:pt x="1" y="28122"/>
                    <a:pt x="2154" y="30244"/>
                    <a:pt x="4751" y="30244"/>
                  </a:cubicBezTo>
                  <a:lnTo>
                    <a:pt x="13428" y="30244"/>
                  </a:lnTo>
                  <a:lnTo>
                    <a:pt x="13428" y="0"/>
                  </a:lnTo>
                  <a:close/>
                </a:path>
              </a:pathLst>
            </a:custGeom>
            <a:solidFill>
              <a:srgbClr val="A9DDF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/>
              <a:endParaRPr sz="3000" dirty="0">
                <a:solidFill>
                  <a:schemeClr val="bg1"/>
                </a:solidFill>
                <a:latin typeface="Fira Sans SemiBold"/>
                <a:sym typeface="Fira Sans SemiBold"/>
              </a:endParaRPr>
            </a:p>
          </p:txBody>
        </p:sp>
        <p:sp>
          <p:nvSpPr>
            <p:cNvPr id="40" name="Google Shape;1714;p21">
              <a:extLst>
                <a:ext uri="{FF2B5EF4-FFF2-40B4-BE49-F238E27FC236}">
                  <a16:creationId xmlns:a16="http://schemas.microsoft.com/office/drawing/2014/main" id="{475AA884-67E6-AF30-C50C-536AB3599B76}"/>
                </a:ext>
              </a:extLst>
            </p:cNvPr>
            <p:cNvSpPr txBox="1"/>
            <p:nvPr/>
          </p:nvSpPr>
          <p:spPr>
            <a:xfrm>
              <a:off x="2823482" y="5420202"/>
              <a:ext cx="1452621" cy="31595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 dirty="0">
                  <a:solidFill>
                    <a:schemeClr val="bg1"/>
                  </a:solidFill>
                  <a:latin typeface="Fira Sans Medium"/>
                  <a:sym typeface="Fira Sans Medium"/>
                </a:rPr>
                <a:t>Training/Tuning</a:t>
              </a:r>
              <a:endParaRPr sz="1000" dirty="0">
                <a:solidFill>
                  <a:schemeClr val="bg1"/>
                </a:solidFill>
                <a:latin typeface="Fira Sans Medium"/>
                <a:sym typeface="Fira Sans Medium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A0D42817-BB4E-B1B2-B177-9DAC5210FF4A}"/>
              </a:ext>
            </a:extLst>
          </p:cNvPr>
          <p:cNvGrpSpPr/>
          <p:nvPr/>
        </p:nvGrpSpPr>
        <p:grpSpPr>
          <a:xfrm>
            <a:off x="2089944" y="3209062"/>
            <a:ext cx="1346136" cy="481862"/>
            <a:chOff x="2374299" y="2785569"/>
            <a:chExt cx="2713096" cy="971178"/>
          </a:xfrm>
        </p:grpSpPr>
        <p:sp>
          <p:nvSpPr>
            <p:cNvPr id="45" name="Google Shape;1706;p21">
              <a:extLst>
                <a:ext uri="{FF2B5EF4-FFF2-40B4-BE49-F238E27FC236}">
                  <a16:creationId xmlns:a16="http://schemas.microsoft.com/office/drawing/2014/main" id="{B22C76CA-73ED-0DE9-9D59-849027FA2BFF}"/>
                </a:ext>
              </a:extLst>
            </p:cNvPr>
            <p:cNvSpPr/>
            <p:nvPr/>
          </p:nvSpPr>
          <p:spPr>
            <a:xfrm>
              <a:off x="2374299" y="2785569"/>
              <a:ext cx="2713096" cy="971178"/>
            </a:xfrm>
            <a:custGeom>
              <a:avLst/>
              <a:gdLst/>
              <a:ahLst/>
              <a:cxnLst/>
              <a:rect l="l" t="t" r="r" b="b"/>
              <a:pathLst>
                <a:path w="52160" h="30245" extrusionOk="0">
                  <a:moveTo>
                    <a:pt x="4751" y="0"/>
                  </a:moveTo>
                  <a:cubicBezTo>
                    <a:pt x="2122" y="0"/>
                    <a:pt x="1" y="2122"/>
                    <a:pt x="1" y="4751"/>
                  </a:cubicBezTo>
                  <a:lnTo>
                    <a:pt x="1" y="25494"/>
                  </a:lnTo>
                  <a:cubicBezTo>
                    <a:pt x="1" y="28122"/>
                    <a:pt x="2122" y="30244"/>
                    <a:pt x="4751" y="30244"/>
                  </a:cubicBezTo>
                  <a:lnTo>
                    <a:pt x="47409" y="30244"/>
                  </a:lnTo>
                  <a:cubicBezTo>
                    <a:pt x="50006" y="30244"/>
                    <a:pt x="52159" y="28122"/>
                    <a:pt x="52159" y="25494"/>
                  </a:cubicBezTo>
                  <a:lnTo>
                    <a:pt x="52159" y="4751"/>
                  </a:lnTo>
                  <a:cubicBezTo>
                    <a:pt x="52159" y="2122"/>
                    <a:pt x="50006" y="0"/>
                    <a:pt x="47409" y="0"/>
                  </a:cubicBezTo>
                  <a:close/>
                </a:path>
              </a:pathLst>
            </a:custGeom>
            <a:solidFill>
              <a:srgbClr val="F7F9F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chemeClr val="bg1"/>
                </a:solidFill>
              </a:endParaRPr>
            </a:p>
          </p:txBody>
        </p:sp>
        <p:sp>
          <p:nvSpPr>
            <p:cNvPr id="46" name="Google Shape;1707;p21">
              <a:extLst>
                <a:ext uri="{FF2B5EF4-FFF2-40B4-BE49-F238E27FC236}">
                  <a16:creationId xmlns:a16="http://schemas.microsoft.com/office/drawing/2014/main" id="{4191C8AA-DFB0-1357-3C7D-077E1F6343BF}"/>
                </a:ext>
              </a:extLst>
            </p:cNvPr>
            <p:cNvSpPr/>
            <p:nvPr/>
          </p:nvSpPr>
          <p:spPr>
            <a:xfrm>
              <a:off x="2374300" y="2785569"/>
              <a:ext cx="406983" cy="971178"/>
            </a:xfrm>
            <a:custGeom>
              <a:avLst/>
              <a:gdLst/>
              <a:ahLst/>
              <a:cxnLst/>
              <a:rect l="l" t="t" r="r" b="b"/>
              <a:pathLst>
                <a:path w="13429" h="30245" extrusionOk="0">
                  <a:moveTo>
                    <a:pt x="4751" y="0"/>
                  </a:moveTo>
                  <a:cubicBezTo>
                    <a:pt x="2154" y="0"/>
                    <a:pt x="1" y="2122"/>
                    <a:pt x="1" y="4751"/>
                  </a:cubicBezTo>
                  <a:lnTo>
                    <a:pt x="1" y="25494"/>
                  </a:lnTo>
                  <a:cubicBezTo>
                    <a:pt x="1" y="28122"/>
                    <a:pt x="2154" y="30244"/>
                    <a:pt x="4751" y="30244"/>
                  </a:cubicBezTo>
                  <a:lnTo>
                    <a:pt x="13428" y="30244"/>
                  </a:lnTo>
                  <a:lnTo>
                    <a:pt x="13428" y="0"/>
                  </a:lnTo>
                  <a:close/>
                </a:path>
              </a:pathLst>
            </a:custGeom>
            <a:solidFill>
              <a:srgbClr val="DAE9B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000" dirty="0">
                <a:solidFill>
                  <a:schemeClr val="bg1"/>
                </a:solidFill>
                <a:latin typeface="Fira Sans SemiBold"/>
                <a:ea typeface="Fira Sans SemiBold"/>
                <a:cs typeface="Fira Sans SemiBold"/>
                <a:sym typeface="Fira Sans SemiBold"/>
              </a:endParaRPr>
            </a:p>
          </p:txBody>
        </p:sp>
        <p:sp>
          <p:nvSpPr>
            <p:cNvPr id="47" name="Google Shape;1714;p21">
              <a:extLst>
                <a:ext uri="{FF2B5EF4-FFF2-40B4-BE49-F238E27FC236}">
                  <a16:creationId xmlns:a16="http://schemas.microsoft.com/office/drawing/2014/main" id="{18DBF3C8-36BD-1CE6-731F-29B730BACB63}"/>
                </a:ext>
              </a:extLst>
            </p:cNvPr>
            <p:cNvSpPr txBox="1"/>
            <p:nvPr/>
          </p:nvSpPr>
          <p:spPr>
            <a:xfrm>
              <a:off x="2718818" y="3093376"/>
              <a:ext cx="2024058" cy="35556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 dirty="0">
                  <a:solidFill>
                    <a:schemeClr val="bg1"/>
                  </a:solidFill>
                  <a:latin typeface="Fira Sans Medium"/>
                  <a:sym typeface="Fira Sans Medium"/>
                </a:rPr>
                <a:t>Data</a:t>
              </a:r>
              <a:endParaRPr sz="1200" dirty="0">
                <a:solidFill>
                  <a:schemeClr val="bg1"/>
                </a:solidFill>
                <a:latin typeface="Fira Sans Medium"/>
                <a:sym typeface="Fira Sans Medium"/>
              </a:endParaRPr>
            </a:p>
          </p:txBody>
        </p:sp>
      </p:grp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E1FB37C8-7647-350B-77DA-FBC8ED2C5A22}"/>
              </a:ext>
            </a:extLst>
          </p:cNvPr>
          <p:cNvCxnSpPr>
            <a:cxnSpLocks/>
          </p:cNvCxnSpPr>
          <p:nvPr/>
        </p:nvCxnSpPr>
        <p:spPr>
          <a:xfrm>
            <a:off x="5190884" y="1355561"/>
            <a:ext cx="0" cy="227268"/>
          </a:xfrm>
          <a:prstGeom prst="straightConnector1">
            <a:avLst/>
          </a:prstGeom>
          <a:ln w="25400">
            <a:solidFill>
              <a:schemeClr val="tx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2" name="Group 51">
            <a:extLst>
              <a:ext uri="{FF2B5EF4-FFF2-40B4-BE49-F238E27FC236}">
                <a16:creationId xmlns:a16="http://schemas.microsoft.com/office/drawing/2014/main" id="{6030F76A-5D48-B270-F2F6-35D50C28E092}"/>
              </a:ext>
            </a:extLst>
          </p:cNvPr>
          <p:cNvGrpSpPr/>
          <p:nvPr/>
        </p:nvGrpSpPr>
        <p:grpSpPr>
          <a:xfrm>
            <a:off x="2079426" y="1903188"/>
            <a:ext cx="1468088" cy="481862"/>
            <a:chOff x="2656416" y="3731549"/>
            <a:chExt cx="1468088" cy="481862"/>
          </a:xfrm>
        </p:grpSpPr>
        <p:sp>
          <p:nvSpPr>
            <p:cNvPr id="53" name="Google Shape;1706;p21">
              <a:extLst>
                <a:ext uri="{FF2B5EF4-FFF2-40B4-BE49-F238E27FC236}">
                  <a16:creationId xmlns:a16="http://schemas.microsoft.com/office/drawing/2014/main" id="{9D3E30F1-7ACD-1F49-21E3-5110CED37A84}"/>
                </a:ext>
              </a:extLst>
            </p:cNvPr>
            <p:cNvSpPr/>
            <p:nvPr/>
          </p:nvSpPr>
          <p:spPr>
            <a:xfrm>
              <a:off x="2671912" y="3731549"/>
              <a:ext cx="1346136" cy="481862"/>
            </a:xfrm>
            <a:custGeom>
              <a:avLst/>
              <a:gdLst/>
              <a:ahLst/>
              <a:cxnLst/>
              <a:rect l="l" t="t" r="r" b="b"/>
              <a:pathLst>
                <a:path w="52160" h="30245" extrusionOk="0">
                  <a:moveTo>
                    <a:pt x="4751" y="0"/>
                  </a:moveTo>
                  <a:cubicBezTo>
                    <a:pt x="2122" y="0"/>
                    <a:pt x="1" y="2122"/>
                    <a:pt x="1" y="4751"/>
                  </a:cubicBezTo>
                  <a:lnTo>
                    <a:pt x="1" y="25494"/>
                  </a:lnTo>
                  <a:cubicBezTo>
                    <a:pt x="1" y="28122"/>
                    <a:pt x="2122" y="30244"/>
                    <a:pt x="4751" y="30244"/>
                  </a:cubicBezTo>
                  <a:lnTo>
                    <a:pt x="47409" y="30244"/>
                  </a:lnTo>
                  <a:cubicBezTo>
                    <a:pt x="50006" y="30244"/>
                    <a:pt x="52159" y="28122"/>
                    <a:pt x="52159" y="25494"/>
                  </a:cubicBezTo>
                  <a:lnTo>
                    <a:pt x="52159" y="4751"/>
                  </a:lnTo>
                  <a:cubicBezTo>
                    <a:pt x="52159" y="2122"/>
                    <a:pt x="50006" y="0"/>
                    <a:pt x="47409" y="0"/>
                  </a:cubicBezTo>
                  <a:close/>
                </a:path>
              </a:pathLst>
            </a:custGeom>
            <a:solidFill>
              <a:srgbClr val="F7F9F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chemeClr val="bg1"/>
                </a:solidFill>
              </a:endParaRPr>
            </a:p>
          </p:txBody>
        </p:sp>
        <p:sp>
          <p:nvSpPr>
            <p:cNvPr id="54" name="Google Shape;1707;p21">
              <a:extLst>
                <a:ext uri="{FF2B5EF4-FFF2-40B4-BE49-F238E27FC236}">
                  <a16:creationId xmlns:a16="http://schemas.microsoft.com/office/drawing/2014/main" id="{0E1B4C44-2413-69F6-B845-E0853CFA980B}"/>
                </a:ext>
              </a:extLst>
            </p:cNvPr>
            <p:cNvSpPr/>
            <p:nvPr/>
          </p:nvSpPr>
          <p:spPr>
            <a:xfrm>
              <a:off x="2656416" y="3731549"/>
              <a:ext cx="201930" cy="481862"/>
            </a:xfrm>
            <a:custGeom>
              <a:avLst/>
              <a:gdLst/>
              <a:ahLst/>
              <a:cxnLst/>
              <a:rect l="l" t="t" r="r" b="b"/>
              <a:pathLst>
                <a:path w="13429" h="30245" extrusionOk="0">
                  <a:moveTo>
                    <a:pt x="4751" y="0"/>
                  </a:moveTo>
                  <a:cubicBezTo>
                    <a:pt x="2154" y="0"/>
                    <a:pt x="1" y="2122"/>
                    <a:pt x="1" y="4751"/>
                  </a:cubicBezTo>
                  <a:lnTo>
                    <a:pt x="1" y="25494"/>
                  </a:lnTo>
                  <a:cubicBezTo>
                    <a:pt x="1" y="28122"/>
                    <a:pt x="2154" y="30244"/>
                    <a:pt x="4751" y="30244"/>
                  </a:cubicBezTo>
                  <a:lnTo>
                    <a:pt x="13428" y="30244"/>
                  </a:lnTo>
                  <a:lnTo>
                    <a:pt x="13428" y="0"/>
                  </a:lnTo>
                  <a:close/>
                </a:path>
              </a:pathLst>
            </a:custGeom>
            <a:solidFill>
              <a:srgbClr val="A9DDF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/>
              <a:endParaRPr sz="3000" dirty="0">
                <a:solidFill>
                  <a:schemeClr val="bg1"/>
                </a:solidFill>
                <a:latin typeface="Fira Sans SemiBold"/>
                <a:sym typeface="Fira Sans SemiBold"/>
              </a:endParaRPr>
            </a:p>
          </p:txBody>
        </p:sp>
        <p:sp>
          <p:nvSpPr>
            <p:cNvPr id="55" name="Google Shape;1714;p21">
              <a:extLst>
                <a:ext uri="{FF2B5EF4-FFF2-40B4-BE49-F238E27FC236}">
                  <a16:creationId xmlns:a16="http://schemas.microsoft.com/office/drawing/2014/main" id="{83715754-D2E2-D069-DB7F-373B696DE3C7}"/>
                </a:ext>
              </a:extLst>
            </p:cNvPr>
            <p:cNvSpPr txBox="1"/>
            <p:nvPr/>
          </p:nvSpPr>
          <p:spPr>
            <a:xfrm>
              <a:off x="2703530" y="3907001"/>
              <a:ext cx="1420974" cy="15236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 dirty="0">
                  <a:solidFill>
                    <a:schemeClr val="bg1"/>
                  </a:solidFill>
                  <a:latin typeface="Fira Sans Medium"/>
                  <a:sym typeface="Fira Sans Medium"/>
                </a:rPr>
                <a:t>Prompt Tuning</a:t>
              </a:r>
              <a:endParaRPr sz="1200" dirty="0">
                <a:solidFill>
                  <a:schemeClr val="bg1"/>
                </a:solidFill>
                <a:latin typeface="Fira Sans Medium"/>
                <a:sym typeface="Fira Sans Medium"/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6CBD73E3-8527-A0B7-3015-D4DE8D45C6E6}"/>
              </a:ext>
            </a:extLst>
          </p:cNvPr>
          <p:cNvGrpSpPr/>
          <p:nvPr/>
        </p:nvGrpSpPr>
        <p:grpSpPr>
          <a:xfrm>
            <a:off x="2074448" y="2543650"/>
            <a:ext cx="1377128" cy="481862"/>
            <a:chOff x="2656416" y="3731549"/>
            <a:chExt cx="1377128" cy="481862"/>
          </a:xfrm>
        </p:grpSpPr>
        <p:sp>
          <p:nvSpPr>
            <p:cNvPr id="57" name="Google Shape;1706;p21">
              <a:extLst>
                <a:ext uri="{FF2B5EF4-FFF2-40B4-BE49-F238E27FC236}">
                  <a16:creationId xmlns:a16="http://schemas.microsoft.com/office/drawing/2014/main" id="{7EB31618-DAE8-50CF-EFE9-5778022E962C}"/>
                </a:ext>
              </a:extLst>
            </p:cNvPr>
            <p:cNvSpPr/>
            <p:nvPr/>
          </p:nvSpPr>
          <p:spPr>
            <a:xfrm>
              <a:off x="2671912" y="3731549"/>
              <a:ext cx="1346136" cy="481862"/>
            </a:xfrm>
            <a:custGeom>
              <a:avLst/>
              <a:gdLst/>
              <a:ahLst/>
              <a:cxnLst/>
              <a:rect l="l" t="t" r="r" b="b"/>
              <a:pathLst>
                <a:path w="52160" h="30245" extrusionOk="0">
                  <a:moveTo>
                    <a:pt x="4751" y="0"/>
                  </a:moveTo>
                  <a:cubicBezTo>
                    <a:pt x="2122" y="0"/>
                    <a:pt x="1" y="2122"/>
                    <a:pt x="1" y="4751"/>
                  </a:cubicBezTo>
                  <a:lnTo>
                    <a:pt x="1" y="25494"/>
                  </a:lnTo>
                  <a:cubicBezTo>
                    <a:pt x="1" y="28122"/>
                    <a:pt x="2122" y="30244"/>
                    <a:pt x="4751" y="30244"/>
                  </a:cubicBezTo>
                  <a:lnTo>
                    <a:pt x="47409" y="30244"/>
                  </a:lnTo>
                  <a:cubicBezTo>
                    <a:pt x="50006" y="30244"/>
                    <a:pt x="52159" y="28122"/>
                    <a:pt x="52159" y="25494"/>
                  </a:cubicBezTo>
                  <a:lnTo>
                    <a:pt x="52159" y="4751"/>
                  </a:lnTo>
                  <a:cubicBezTo>
                    <a:pt x="52159" y="2122"/>
                    <a:pt x="50006" y="0"/>
                    <a:pt x="47409" y="0"/>
                  </a:cubicBezTo>
                  <a:close/>
                </a:path>
              </a:pathLst>
            </a:custGeom>
            <a:solidFill>
              <a:srgbClr val="F7F9F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chemeClr val="bg1"/>
                </a:solidFill>
              </a:endParaRPr>
            </a:p>
          </p:txBody>
        </p:sp>
        <p:sp>
          <p:nvSpPr>
            <p:cNvPr id="58" name="Google Shape;1707;p21">
              <a:extLst>
                <a:ext uri="{FF2B5EF4-FFF2-40B4-BE49-F238E27FC236}">
                  <a16:creationId xmlns:a16="http://schemas.microsoft.com/office/drawing/2014/main" id="{BCDECF57-F87C-22EA-2EF2-2F274727768E}"/>
                </a:ext>
              </a:extLst>
            </p:cNvPr>
            <p:cNvSpPr/>
            <p:nvPr/>
          </p:nvSpPr>
          <p:spPr>
            <a:xfrm>
              <a:off x="2656416" y="3731549"/>
              <a:ext cx="201930" cy="481862"/>
            </a:xfrm>
            <a:custGeom>
              <a:avLst/>
              <a:gdLst/>
              <a:ahLst/>
              <a:cxnLst/>
              <a:rect l="l" t="t" r="r" b="b"/>
              <a:pathLst>
                <a:path w="13429" h="30245" extrusionOk="0">
                  <a:moveTo>
                    <a:pt x="4751" y="0"/>
                  </a:moveTo>
                  <a:cubicBezTo>
                    <a:pt x="2154" y="0"/>
                    <a:pt x="1" y="2122"/>
                    <a:pt x="1" y="4751"/>
                  </a:cubicBezTo>
                  <a:lnTo>
                    <a:pt x="1" y="25494"/>
                  </a:lnTo>
                  <a:cubicBezTo>
                    <a:pt x="1" y="28122"/>
                    <a:pt x="2154" y="30244"/>
                    <a:pt x="4751" y="30244"/>
                  </a:cubicBezTo>
                  <a:lnTo>
                    <a:pt x="13428" y="30244"/>
                  </a:lnTo>
                  <a:lnTo>
                    <a:pt x="13428" y="0"/>
                  </a:lnTo>
                  <a:close/>
                </a:path>
              </a:pathLst>
            </a:custGeom>
            <a:solidFill>
              <a:srgbClr val="A9DDF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/>
              <a:endParaRPr sz="3000" dirty="0">
                <a:solidFill>
                  <a:schemeClr val="bg1"/>
                </a:solidFill>
                <a:latin typeface="Fira Sans SemiBold"/>
                <a:sym typeface="Fira Sans SemiBold"/>
              </a:endParaRPr>
            </a:p>
          </p:txBody>
        </p:sp>
        <p:sp>
          <p:nvSpPr>
            <p:cNvPr id="59" name="Google Shape;1714;p21">
              <a:extLst>
                <a:ext uri="{FF2B5EF4-FFF2-40B4-BE49-F238E27FC236}">
                  <a16:creationId xmlns:a16="http://schemas.microsoft.com/office/drawing/2014/main" id="{6247746E-68D6-11BA-58A3-18A0280CAD1A}"/>
                </a:ext>
              </a:extLst>
            </p:cNvPr>
            <p:cNvSpPr txBox="1"/>
            <p:nvPr/>
          </p:nvSpPr>
          <p:spPr>
            <a:xfrm>
              <a:off x="2842849" y="3907001"/>
              <a:ext cx="1190695" cy="13095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 dirty="0">
                  <a:solidFill>
                    <a:schemeClr val="bg1"/>
                  </a:solidFill>
                  <a:latin typeface="Fira Sans Medium"/>
                  <a:sym typeface="Fira Sans Medium"/>
                </a:rPr>
                <a:t>Agent Testing</a:t>
              </a:r>
              <a:endParaRPr sz="1200" dirty="0">
                <a:solidFill>
                  <a:schemeClr val="bg1"/>
                </a:solidFill>
                <a:latin typeface="Fira Sans Medium"/>
                <a:sym typeface="Fira Sans Medium"/>
              </a:endParaRP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F7BCA733-0C07-BF88-5C5D-50C7B8F0006E}"/>
              </a:ext>
            </a:extLst>
          </p:cNvPr>
          <p:cNvGrpSpPr/>
          <p:nvPr/>
        </p:nvGrpSpPr>
        <p:grpSpPr>
          <a:xfrm>
            <a:off x="2079426" y="3915192"/>
            <a:ext cx="1476440" cy="477965"/>
            <a:chOff x="2656416" y="3731549"/>
            <a:chExt cx="1476440" cy="481862"/>
          </a:xfrm>
        </p:grpSpPr>
        <p:sp>
          <p:nvSpPr>
            <p:cNvPr id="61" name="Google Shape;1706;p21">
              <a:extLst>
                <a:ext uri="{FF2B5EF4-FFF2-40B4-BE49-F238E27FC236}">
                  <a16:creationId xmlns:a16="http://schemas.microsoft.com/office/drawing/2014/main" id="{EAC5AF6F-E091-D7B2-8CA9-5A681ADC3321}"/>
                </a:ext>
              </a:extLst>
            </p:cNvPr>
            <p:cNvSpPr/>
            <p:nvPr/>
          </p:nvSpPr>
          <p:spPr>
            <a:xfrm>
              <a:off x="2671912" y="3731549"/>
              <a:ext cx="1346136" cy="481862"/>
            </a:xfrm>
            <a:custGeom>
              <a:avLst/>
              <a:gdLst/>
              <a:ahLst/>
              <a:cxnLst/>
              <a:rect l="l" t="t" r="r" b="b"/>
              <a:pathLst>
                <a:path w="52160" h="30245" extrusionOk="0">
                  <a:moveTo>
                    <a:pt x="4751" y="0"/>
                  </a:moveTo>
                  <a:cubicBezTo>
                    <a:pt x="2122" y="0"/>
                    <a:pt x="1" y="2122"/>
                    <a:pt x="1" y="4751"/>
                  </a:cubicBezTo>
                  <a:lnTo>
                    <a:pt x="1" y="25494"/>
                  </a:lnTo>
                  <a:cubicBezTo>
                    <a:pt x="1" y="28122"/>
                    <a:pt x="2122" y="30244"/>
                    <a:pt x="4751" y="30244"/>
                  </a:cubicBezTo>
                  <a:lnTo>
                    <a:pt x="47409" y="30244"/>
                  </a:lnTo>
                  <a:cubicBezTo>
                    <a:pt x="50006" y="30244"/>
                    <a:pt x="52159" y="28122"/>
                    <a:pt x="52159" y="25494"/>
                  </a:cubicBezTo>
                  <a:lnTo>
                    <a:pt x="52159" y="4751"/>
                  </a:lnTo>
                  <a:cubicBezTo>
                    <a:pt x="52159" y="2122"/>
                    <a:pt x="50006" y="0"/>
                    <a:pt x="47409" y="0"/>
                  </a:cubicBezTo>
                  <a:close/>
                </a:path>
              </a:pathLst>
            </a:custGeom>
            <a:solidFill>
              <a:srgbClr val="F7F9F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>
                <a:solidFill>
                  <a:schemeClr val="bg1"/>
                </a:solidFill>
              </a:endParaRPr>
            </a:p>
          </p:txBody>
        </p:sp>
        <p:sp>
          <p:nvSpPr>
            <p:cNvPr id="62" name="Google Shape;1707;p21">
              <a:extLst>
                <a:ext uri="{FF2B5EF4-FFF2-40B4-BE49-F238E27FC236}">
                  <a16:creationId xmlns:a16="http://schemas.microsoft.com/office/drawing/2014/main" id="{6B6F52AA-24D8-CFCB-F6A4-69EAC51EF72E}"/>
                </a:ext>
              </a:extLst>
            </p:cNvPr>
            <p:cNvSpPr/>
            <p:nvPr/>
          </p:nvSpPr>
          <p:spPr>
            <a:xfrm>
              <a:off x="2656416" y="3731549"/>
              <a:ext cx="201930" cy="481862"/>
            </a:xfrm>
            <a:custGeom>
              <a:avLst/>
              <a:gdLst/>
              <a:ahLst/>
              <a:cxnLst/>
              <a:rect l="l" t="t" r="r" b="b"/>
              <a:pathLst>
                <a:path w="13429" h="30245" extrusionOk="0">
                  <a:moveTo>
                    <a:pt x="4751" y="0"/>
                  </a:moveTo>
                  <a:cubicBezTo>
                    <a:pt x="2154" y="0"/>
                    <a:pt x="1" y="2122"/>
                    <a:pt x="1" y="4751"/>
                  </a:cubicBezTo>
                  <a:lnTo>
                    <a:pt x="1" y="25494"/>
                  </a:lnTo>
                  <a:cubicBezTo>
                    <a:pt x="1" y="28122"/>
                    <a:pt x="2154" y="30244"/>
                    <a:pt x="4751" y="30244"/>
                  </a:cubicBezTo>
                  <a:lnTo>
                    <a:pt x="13428" y="30244"/>
                  </a:lnTo>
                  <a:lnTo>
                    <a:pt x="13428" y="0"/>
                  </a:lnTo>
                  <a:close/>
                </a:path>
              </a:pathLst>
            </a:custGeom>
            <a:solidFill>
              <a:srgbClr val="DAE9B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/>
              <a:endParaRPr sz="3000" dirty="0">
                <a:solidFill>
                  <a:schemeClr val="bg1"/>
                </a:solidFill>
                <a:latin typeface="Fira Sans SemiBold"/>
                <a:sym typeface="Fira Sans SemiBold"/>
              </a:endParaRPr>
            </a:p>
          </p:txBody>
        </p:sp>
        <p:sp>
          <p:nvSpPr>
            <p:cNvPr id="63" name="Google Shape;1714;p21">
              <a:extLst>
                <a:ext uri="{FF2B5EF4-FFF2-40B4-BE49-F238E27FC236}">
                  <a16:creationId xmlns:a16="http://schemas.microsoft.com/office/drawing/2014/main" id="{3D198364-8A36-4FFB-27F1-D78C12938DDD}"/>
                </a:ext>
              </a:extLst>
            </p:cNvPr>
            <p:cNvSpPr txBox="1"/>
            <p:nvPr/>
          </p:nvSpPr>
          <p:spPr>
            <a:xfrm>
              <a:off x="2942161" y="3900483"/>
              <a:ext cx="1190695" cy="13095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 dirty="0">
                  <a:solidFill>
                    <a:schemeClr val="bg1"/>
                  </a:solidFill>
                  <a:latin typeface="Fira Sans Medium"/>
                  <a:sym typeface="Fira Sans Medium"/>
                </a:rPr>
                <a:t>Training Data</a:t>
              </a:r>
              <a:endParaRPr sz="1200" dirty="0">
                <a:solidFill>
                  <a:schemeClr val="bg1"/>
                </a:solidFill>
                <a:latin typeface="Fira Sans Medium"/>
                <a:sym typeface="Fira Sans Medium"/>
              </a:endParaRP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17C0A455-9EF5-276C-918D-D63476A9F60F}"/>
              </a:ext>
            </a:extLst>
          </p:cNvPr>
          <p:cNvGrpSpPr/>
          <p:nvPr/>
        </p:nvGrpSpPr>
        <p:grpSpPr>
          <a:xfrm>
            <a:off x="4494650" y="2415352"/>
            <a:ext cx="1454849" cy="442721"/>
            <a:chOff x="2656416" y="4646233"/>
            <a:chExt cx="1454849" cy="442721"/>
          </a:xfrm>
        </p:grpSpPr>
        <p:sp>
          <p:nvSpPr>
            <p:cNvPr id="65" name="Google Shape;1706;p21">
              <a:extLst>
                <a:ext uri="{FF2B5EF4-FFF2-40B4-BE49-F238E27FC236}">
                  <a16:creationId xmlns:a16="http://schemas.microsoft.com/office/drawing/2014/main" id="{CC9D6CC9-2B7D-2B5F-F955-747AE1139191}"/>
                </a:ext>
              </a:extLst>
            </p:cNvPr>
            <p:cNvSpPr/>
            <p:nvPr/>
          </p:nvSpPr>
          <p:spPr>
            <a:xfrm>
              <a:off x="2671912" y="4646233"/>
              <a:ext cx="1346136" cy="442721"/>
            </a:xfrm>
            <a:custGeom>
              <a:avLst/>
              <a:gdLst/>
              <a:ahLst/>
              <a:cxnLst/>
              <a:rect l="l" t="t" r="r" b="b"/>
              <a:pathLst>
                <a:path w="52160" h="30245" extrusionOk="0">
                  <a:moveTo>
                    <a:pt x="4751" y="0"/>
                  </a:moveTo>
                  <a:cubicBezTo>
                    <a:pt x="2122" y="0"/>
                    <a:pt x="1" y="2122"/>
                    <a:pt x="1" y="4751"/>
                  </a:cubicBezTo>
                  <a:lnTo>
                    <a:pt x="1" y="25494"/>
                  </a:lnTo>
                  <a:cubicBezTo>
                    <a:pt x="1" y="28122"/>
                    <a:pt x="2122" y="30244"/>
                    <a:pt x="4751" y="30244"/>
                  </a:cubicBezTo>
                  <a:lnTo>
                    <a:pt x="47409" y="30244"/>
                  </a:lnTo>
                  <a:cubicBezTo>
                    <a:pt x="50006" y="30244"/>
                    <a:pt x="52159" y="28122"/>
                    <a:pt x="52159" y="25494"/>
                  </a:cubicBezTo>
                  <a:lnTo>
                    <a:pt x="52159" y="4751"/>
                  </a:lnTo>
                  <a:cubicBezTo>
                    <a:pt x="52159" y="2122"/>
                    <a:pt x="50006" y="0"/>
                    <a:pt x="47409" y="0"/>
                  </a:cubicBezTo>
                  <a:close/>
                </a:path>
              </a:pathLst>
            </a:custGeom>
            <a:solidFill>
              <a:srgbClr val="F7F9F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>
                <a:solidFill>
                  <a:schemeClr val="bg1"/>
                </a:solidFill>
              </a:endParaRPr>
            </a:p>
          </p:txBody>
        </p:sp>
        <p:sp>
          <p:nvSpPr>
            <p:cNvPr id="66" name="Google Shape;1707;p21">
              <a:extLst>
                <a:ext uri="{FF2B5EF4-FFF2-40B4-BE49-F238E27FC236}">
                  <a16:creationId xmlns:a16="http://schemas.microsoft.com/office/drawing/2014/main" id="{71574A48-1BFE-AE6D-882B-CD037000B75E}"/>
                </a:ext>
              </a:extLst>
            </p:cNvPr>
            <p:cNvSpPr/>
            <p:nvPr/>
          </p:nvSpPr>
          <p:spPr>
            <a:xfrm>
              <a:off x="2656416" y="4646233"/>
              <a:ext cx="201930" cy="442721"/>
            </a:xfrm>
            <a:custGeom>
              <a:avLst/>
              <a:gdLst/>
              <a:ahLst/>
              <a:cxnLst/>
              <a:rect l="l" t="t" r="r" b="b"/>
              <a:pathLst>
                <a:path w="13429" h="30245" extrusionOk="0">
                  <a:moveTo>
                    <a:pt x="4751" y="0"/>
                  </a:moveTo>
                  <a:cubicBezTo>
                    <a:pt x="2154" y="0"/>
                    <a:pt x="1" y="2122"/>
                    <a:pt x="1" y="4751"/>
                  </a:cubicBezTo>
                  <a:lnTo>
                    <a:pt x="1" y="25494"/>
                  </a:lnTo>
                  <a:cubicBezTo>
                    <a:pt x="1" y="28122"/>
                    <a:pt x="2154" y="30244"/>
                    <a:pt x="4751" y="30244"/>
                  </a:cubicBezTo>
                  <a:lnTo>
                    <a:pt x="13428" y="30244"/>
                  </a:lnTo>
                  <a:lnTo>
                    <a:pt x="13428" y="0"/>
                  </a:lnTo>
                  <a:close/>
                </a:path>
              </a:pathLst>
            </a:custGeom>
            <a:solidFill>
              <a:srgbClr val="A4DDC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/>
              <a:endParaRPr sz="3000" dirty="0">
                <a:solidFill>
                  <a:schemeClr val="bg1"/>
                </a:solidFill>
                <a:latin typeface="Fira Sans SemiBold"/>
                <a:sym typeface="Fira Sans SemiBold"/>
              </a:endParaRPr>
            </a:p>
          </p:txBody>
        </p:sp>
        <p:sp>
          <p:nvSpPr>
            <p:cNvPr id="67" name="Google Shape;1714;p21">
              <a:extLst>
                <a:ext uri="{FF2B5EF4-FFF2-40B4-BE49-F238E27FC236}">
                  <a16:creationId xmlns:a16="http://schemas.microsoft.com/office/drawing/2014/main" id="{C6581E5B-F02D-E0DC-4A83-1FB974A9F860}"/>
                </a:ext>
              </a:extLst>
            </p:cNvPr>
            <p:cNvSpPr txBox="1"/>
            <p:nvPr/>
          </p:nvSpPr>
          <p:spPr>
            <a:xfrm>
              <a:off x="2765129" y="4789970"/>
              <a:ext cx="1346136" cy="13325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 dirty="0">
                  <a:solidFill>
                    <a:schemeClr val="bg1"/>
                  </a:solidFill>
                  <a:latin typeface="Fira Sans Medium"/>
                  <a:sym typeface="Fira Sans Medium"/>
                </a:rPr>
                <a:t>System Prompt</a:t>
              </a:r>
              <a:endParaRPr sz="1200" dirty="0">
                <a:solidFill>
                  <a:schemeClr val="bg1"/>
                </a:solidFill>
                <a:latin typeface="Fira Sans Medium"/>
                <a:sym typeface="Fira Sans Medium"/>
              </a:endParaRPr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0EEE1E3D-8A94-1FAB-AB07-34765C34A7FF}"/>
              </a:ext>
            </a:extLst>
          </p:cNvPr>
          <p:cNvGrpSpPr/>
          <p:nvPr/>
        </p:nvGrpSpPr>
        <p:grpSpPr>
          <a:xfrm>
            <a:off x="388492" y="4694229"/>
            <a:ext cx="1346136" cy="481862"/>
            <a:chOff x="2374299" y="2785569"/>
            <a:chExt cx="2713096" cy="971178"/>
          </a:xfrm>
        </p:grpSpPr>
        <p:sp>
          <p:nvSpPr>
            <p:cNvPr id="81" name="Google Shape;1706;p21">
              <a:extLst>
                <a:ext uri="{FF2B5EF4-FFF2-40B4-BE49-F238E27FC236}">
                  <a16:creationId xmlns:a16="http://schemas.microsoft.com/office/drawing/2014/main" id="{95C94341-5F0D-E8C4-D7AC-56A8DD699AEF}"/>
                </a:ext>
              </a:extLst>
            </p:cNvPr>
            <p:cNvSpPr/>
            <p:nvPr/>
          </p:nvSpPr>
          <p:spPr>
            <a:xfrm>
              <a:off x="2374299" y="2785569"/>
              <a:ext cx="2713096" cy="971178"/>
            </a:xfrm>
            <a:custGeom>
              <a:avLst/>
              <a:gdLst/>
              <a:ahLst/>
              <a:cxnLst/>
              <a:rect l="l" t="t" r="r" b="b"/>
              <a:pathLst>
                <a:path w="52160" h="30245" extrusionOk="0">
                  <a:moveTo>
                    <a:pt x="4751" y="0"/>
                  </a:moveTo>
                  <a:cubicBezTo>
                    <a:pt x="2122" y="0"/>
                    <a:pt x="1" y="2122"/>
                    <a:pt x="1" y="4751"/>
                  </a:cubicBezTo>
                  <a:lnTo>
                    <a:pt x="1" y="25494"/>
                  </a:lnTo>
                  <a:cubicBezTo>
                    <a:pt x="1" y="28122"/>
                    <a:pt x="2122" y="30244"/>
                    <a:pt x="4751" y="30244"/>
                  </a:cubicBezTo>
                  <a:lnTo>
                    <a:pt x="47409" y="30244"/>
                  </a:lnTo>
                  <a:cubicBezTo>
                    <a:pt x="50006" y="30244"/>
                    <a:pt x="52159" y="28122"/>
                    <a:pt x="52159" y="25494"/>
                  </a:cubicBezTo>
                  <a:lnTo>
                    <a:pt x="52159" y="4751"/>
                  </a:lnTo>
                  <a:cubicBezTo>
                    <a:pt x="52159" y="2122"/>
                    <a:pt x="50006" y="0"/>
                    <a:pt x="47409" y="0"/>
                  </a:cubicBezTo>
                  <a:close/>
                </a:path>
              </a:pathLst>
            </a:custGeom>
            <a:solidFill>
              <a:srgbClr val="F7F9F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chemeClr val="bg1"/>
                </a:solidFill>
              </a:endParaRPr>
            </a:p>
          </p:txBody>
        </p:sp>
        <p:sp>
          <p:nvSpPr>
            <p:cNvPr id="82" name="Google Shape;1707;p21">
              <a:extLst>
                <a:ext uri="{FF2B5EF4-FFF2-40B4-BE49-F238E27FC236}">
                  <a16:creationId xmlns:a16="http://schemas.microsoft.com/office/drawing/2014/main" id="{4E6AC633-622C-3949-111D-0944F15FE988}"/>
                </a:ext>
              </a:extLst>
            </p:cNvPr>
            <p:cNvSpPr/>
            <p:nvPr/>
          </p:nvSpPr>
          <p:spPr>
            <a:xfrm>
              <a:off x="2374300" y="2785569"/>
              <a:ext cx="406983" cy="971178"/>
            </a:xfrm>
            <a:custGeom>
              <a:avLst/>
              <a:gdLst/>
              <a:ahLst/>
              <a:cxnLst/>
              <a:rect l="l" t="t" r="r" b="b"/>
              <a:pathLst>
                <a:path w="13429" h="30245" extrusionOk="0">
                  <a:moveTo>
                    <a:pt x="4751" y="0"/>
                  </a:moveTo>
                  <a:cubicBezTo>
                    <a:pt x="2154" y="0"/>
                    <a:pt x="1" y="2122"/>
                    <a:pt x="1" y="4751"/>
                  </a:cubicBezTo>
                  <a:lnTo>
                    <a:pt x="1" y="25494"/>
                  </a:lnTo>
                  <a:cubicBezTo>
                    <a:pt x="1" y="28122"/>
                    <a:pt x="2154" y="30244"/>
                    <a:pt x="4751" y="30244"/>
                  </a:cubicBezTo>
                  <a:lnTo>
                    <a:pt x="13428" y="30244"/>
                  </a:lnTo>
                  <a:lnTo>
                    <a:pt x="13428" y="0"/>
                  </a:lnTo>
                  <a:close/>
                </a:path>
              </a:pathLst>
            </a:custGeom>
            <a:solidFill>
              <a:srgbClr val="A9DDF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000" dirty="0">
                <a:solidFill>
                  <a:schemeClr val="bg1"/>
                </a:solidFill>
                <a:latin typeface="Fira Sans SemiBold"/>
                <a:ea typeface="Fira Sans SemiBold"/>
                <a:cs typeface="Fira Sans SemiBold"/>
                <a:sym typeface="Fira Sans SemiBold"/>
              </a:endParaRPr>
            </a:p>
          </p:txBody>
        </p:sp>
        <p:sp>
          <p:nvSpPr>
            <p:cNvPr id="83" name="Google Shape;1714;p21">
              <a:extLst>
                <a:ext uri="{FF2B5EF4-FFF2-40B4-BE49-F238E27FC236}">
                  <a16:creationId xmlns:a16="http://schemas.microsoft.com/office/drawing/2014/main" id="{4B35E1CE-189B-F956-81E7-C608419E608C}"/>
                </a:ext>
              </a:extLst>
            </p:cNvPr>
            <p:cNvSpPr txBox="1"/>
            <p:nvPr/>
          </p:nvSpPr>
          <p:spPr>
            <a:xfrm>
              <a:off x="2718817" y="3093375"/>
              <a:ext cx="2337346" cy="4087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 dirty="0">
                  <a:solidFill>
                    <a:schemeClr val="bg1"/>
                  </a:solidFill>
                  <a:latin typeface="Fira Sans Medium"/>
                  <a:sym typeface="Fira Sans Medium"/>
                </a:rPr>
                <a:t>Foundation Model</a:t>
              </a:r>
              <a:endParaRPr sz="1200" dirty="0">
                <a:solidFill>
                  <a:schemeClr val="bg1"/>
                </a:solidFill>
                <a:latin typeface="Fira Sans Medium"/>
                <a:sym typeface="Fira Sans Medium"/>
              </a:endParaRPr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7BFE0366-5F16-656C-1C82-F179630A7067}"/>
              </a:ext>
            </a:extLst>
          </p:cNvPr>
          <p:cNvGrpSpPr/>
          <p:nvPr/>
        </p:nvGrpSpPr>
        <p:grpSpPr>
          <a:xfrm>
            <a:off x="4134891" y="5877788"/>
            <a:ext cx="2107112" cy="475518"/>
            <a:chOff x="2628280" y="4606562"/>
            <a:chExt cx="1125546" cy="475518"/>
          </a:xfrm>
        </p:grpSpPr>
        <p:sp>
          <p:nvSpPr>
            <p:cNvPr id="110" name="Google Shape;1706;p21">
              <a:extLst>
                <a:ext uri="{FF2B5EF4-FFF2-40B4-BE49-F238E27FC236}">
                  <a16:creationId xmlns:a16="http://schemas.microsoft.com/office/drawing/2014/main" id="{DD931C1E-9CD2-2C55-AC4F-2FDF1F6576C2}"/>
                </a:ext>
              </a:extLst>
            </p:cNvPr>
            <p:cNvSpPr/>
            <p:nvPr/>
          </p:nvSpPr>
          <p:spPr>
            <a:xfrm>
              <a:off x="2641472" y="4606563"/>
              <a:ext cx="1103138" cy="475517"/>
            </a:xfrm>
            <a:custGeom>
              <a:avLst/>
              <a:gdLst/>
              <a:ahLst/>
              <a:cxnLst/>
              <a:rect l="l" t="t" r="r" b="b"/>
              <a:pathLst>
                <a:path w="52160" h="30245" extrusionOk="0">
                  <a:moveTo>
                    <a:pt x="4751" y="0"/>
                  </a:moveTo>
                  <a:cubicBezTo>
                    <a:pt x="2122" y="0"/>
                    <a:pt x="1" y="2122"/>
                    <a:pt x="1" y="4751"/>
                  </a:cubicBezTo>
                  <a:lnTo>
                    <a:pt x="1" y="25494"/>
                  </a:lnTo>
                  <a:cubicBezTo>
                    <a:pt x="1" y="28122"/>
                    <a:pt x="2122" y="30244"/>
                    <a:pt x="4751" y="30244"/>
                  </a:cubicBezTo>
                  <a:lnTo>
                    <a:pt x="47409" y="30244"/>
                  </a:lnTo>
                  <a:cubicBezTo>
                    <a:pt x="50006" y="30244"/>
                    <a:pt x="52159" y="28122"/>
                    <a:pt x="52159" y="25494"/>
                  </a:cubicBezTo>
                  <a:lnTo>
                    <a:pt x="52159" y="4751"/>
                  </a:lnTo>
                  <a:cubicBezTo>
                    <a:pt x="52159" y="2122"/>
                    <a:pt x="50006" y="0"/>
                    <a:pt x="47409" y="0"/>
                  </a:cubicBezTo>
                  <a:close/>
                </a:path>
              </a:pathLst>
            </a:custGeom>
            <a:solidFill>
              <a:srgbClr val="F7F9F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>
                <a:solidFill>
                  <a:schemeClr val="bg1"/>
                </a:solidFill>
              </a:endParaRPr>
            </a:p>
          </p:txBody>
        </p:sp>
        <p:sp>
          <p:nvSpPr>
            <p:cNvPr id="111" name="Google Shape;1707;p21">
              <a:extLst>
                <a:ext uri="{FF2B5EF4-FFF2-40B4-BE49-F238E27FC236}">
                  <a16:creationId xmlns:a16="http://schemas.microsoft.com/office/drawing/2014/main" id="{1BC88713-C172-1CC8-1D99-5DE6A19166C9}"/>
                </a:ext>
              </a:extLst>
            </p:cNvPr>
            <p:cNvSpPr/>
            <p:nvPr/>
          </p:nvSpPr>
          <p:spPr>
            <a:xfrm>
              <a:off x="2628280" y="4606562"/>
              <a:ext cx="112112" cy="475517"/>
            </a:xfrm>
            <a:custGeom>
              <a:avLst/>
              <a:gdLst/>
              <a:ahLst/>
              <a:cxnLst/>
              <a:rect l="l" t="t" r="r" b="b"/>
              <a:pathLst>
                <a:path w="13429" h="30245" extrusionOk="0">
                  <a:moveTo>
                    <a:pt x="4751" y="0"/>
                  </a:moveTo>
                  <a:cubicBezTo>
                    <a:pt x="2154" y="0"/>
                    <a:pt x="1" y="2122"/>
                    <a:pt x="1" y="4751"/>
                  </a:cubicBezTo>
                  <a:lnTo>
                    <a:pt x="1" y="25494"/>
                  </a:lnTo>
                  <a:cubicBezTo>
                    <a:pt x="1" y="28122"/>
                    <a:pt x="2154" y="30244"/>
                    <a:pt x="4751" y="30244"/>
                  </a:cubicBezTo>
                  <a:lnTo>
                    <a:pt x="13428" y="30244"/>
                  </a:lnTo>
                  <a:lnTo>
                    <a:pt x="13428" y="0"/>
                  </a:lnTo>
                  <a:close/>
                </a:path>
              </a:pathLst>
            </a:custGeom>
            <a:solidFill>
              <a:srgbClr val="A9DDF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/>
              <a:endParaRPr sz="3000" dirty="0">
                <a:solidFill>
                  <a:schemeClr val="bg1"/>
                </a:solidFill>
                <a:latin typeface="Fira Sans SemiBold"/>
                <a:sym typeface="Fira Sans SemiBold"/>
              </a:endParaRPr>
            </a:p>
          </p:txBody>
        </p:sp>
        <p:sp>
          <p:nvSpPr>
            <p:cNvPr id="112" name="Google Shape;1714;p21">
              <a:extLst>
                <a:ext uri="{FF2B5EF4-FFF2-40B4-BE49-F238E27FC236}">
                  <a16:creationId xmlns:a16="http://schemas.microsoft.com/office/drawing/2014/main" id="{1467B2E6-DDFD-A9D4-6EB7-8E990280D930}"/>
                </a:ext>
              </a:extLst>
            </p:cNvPr>
            <p:cNvSpPr txBox="1"/>
            <p:nvPr/>
          </p:nvSpPr>
          <p:spPr>
            <a:xfrm>
              <a:off x="2749565" y="4754106"/>
              <a:ext cx="1004261" cy="17641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 dirty="0">
                  <a:solidFill>
                    <a:schemeClr val="bg1"/>
                  </a:solidFill>
                  <a:latin typeface="Fira Sans Medium"/>
                  <a:sym typeface="Fira Sans Medium"/>
                </a:rPr>
                <a:t>LLM App Validation</a:t>
              </a:r>
              <a:endParaRPr sz="1200" dirty="0">
                <a:solidFill>
                  <a:schemeClr val="bg1"/>
                </a:solidFill>
                <a:latin typeface="Fira Sans Medium"/>
                <a:sym typeface="Fira Sans Medium"/>
              </a:endParaRPr>
            </a:p>
          </p:txBody>
        </p:sp>
      </p:grpSp>
      <p:sp>
        <p:nvSpPr>
          <p:cNvPr id="113" name="Google Shape;1704;p21">
            <a:extLst>
              <a:ext uri="{FF2B5EF4-FFF2-40B4-BE49-F238E27FC236}">
                <a16:creationId xmlns:a16="http://schemas.microsoft.com/office/drawing/2014/main" id="{71C299A4-9DA6-8932-B7F7-AA3D4CAE9E9E}"/>
              </a:ext>
            </a:extLst>
          </p:cNvPr>
          <p:cNvSpPr/>
          <p:nvPr/>
        </p:nvSpPr>
        <p:spPr>
          <a:xfrm>
            <a:off x="7066459" y="2843086"/>
            <a:ext cx="1084594" cy="1167091"/>
          </a:xfrm>
          <a:custGeom>
            <a:avLst/>
            <a:gdLst/>
            <a:ahLst/>
            <a:cxnLst/>
            <a:rect l="l" t="t" r="r" b="b"/>
            <a:pathLst>
              <a:path w="52160" h="30277" extrusionOk="0">
                <a:moveTo>
                  <a:pt x="4751" y="1"/>
                </a:moveTo>
                <a:cubicBezTo>
                  <a:pt x="2122" y="1"/>
                  <a:pt x="1" y="2123"/>
                  <a:pt x="1" y="4751"/>
                </a:cubicBezTo>
                <a:lnTo>
                  <a:pt x="1" y="25526"/>
                </a:lnTo>
                <a:cubicBezTo>
                  <a:pt x="1" y="28123"/>
                  <a:pt x="2122" y="30276"/>
                  <a:pt x="4751" y="30276"/>
                </a:cubicBezTo>
                <a:lnTo>
                  <a:pt x="47409" y="30276"/>
                </a:lnTo>
                <a:cubicBezTo>
                  <a:pt x="50006" y="30276"/>
                  <a:pt x="52159" y="28123"/>
                  <a:pt x="52159" y="25526"/>
                </a:cubicBezTo>
                <a:lnTo>
                  <a:pt x="52159" y="4751"/>
                </a:lnTo>
                <a:cubicBezTo>
                  <a:pt x="52159" y="2123"/>
                  <a:pt x="50006" y="1"/>
                  <a:pt x="47409" y="1"/>
                </a:cubicBezTo>
                <a:close/>
              </a:path>
            </a:pathLst>
          </a:custGeom>
          <a:solidFill>
            <a:srgbClr val="F7F9F9"/>
          </a:solidFill>
          <a:ln>
            <a:solidFill>
              <a:schemeClr val="bg1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bg1"/>
              </a:solidFill>
            </a:endParaRPr>
          </a:p>
        </p:txBody>
      </p: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BEC68A45-11B6-38B9-3720-C6072C072681}"/>
              </a:ext>
            </a:extLst>
          </p:cNvPr>
          <p:cNvGrpSpPr/>
          <p:nvPr/>
        </p:nvGrpSpPr>
        <p:grpSpPr>
          <a:xfrm>
            <a:off x="7742159" y="5848953"/>
            <a:ext cx="1400751" cy="481864"/>
            <a:chOff x="2374299" y="2785569"/>
            <a:chExt cx="2823171" cy="971182"/>
          </a:xfrm>
        </p:grpSpPr>
        <p:sp>
          <p:nvSpPr>
            <p:cNvPr id="115" name="Google Shape;1706;p21">
              <a:extLst>
                <a:ext uri="{FF2B5EF4-FFF2-40B4-BE49-F238E27FC236}">
                  <a16:creationId xmlns:a16="http://schemas.microsoft.com/office/drawing/2014/main" id="{E60D52E4-7D66-1F37-B17F-5F9757C8A596}"/>
                </a:ext>
              </a:extLst>
            </p:cNvPr>
            <p:cNvSpPr/>
            <p:nvPr/>
          </p:nvSpPr>
          <p:spPr>
            <a:xfrm>
              <a:off x="2374299" y="2785573"/>
              <a:ext cx="2713096" cy="971178"/>
            </a:xfrm>
            <a:custGeom>
              <a:avLst/>
              <a:gdLst/>
              <a:ahLst/>
              <a:cxnLst/>
              <a:rect l="l" t="t" r="r" b="b"/>
              <a:pathLst>
                <a:path w="52160" h="30245" extrusionOk="0">
                  <a:moveTo>
                    <a:pt x="4751" y="0"/>
                  </a:moveTo>
                  <a:cubicBezTo>
                    <a:pt x="2122" y="0"/>
                    <a:pt x="1" y="2122"/>
                    <a:pt x="1" y="4751"/>
                  </a:cubicBezTo>
                  <a:lnTo>
                    <a:pt x="1" y="25494"/>
                  </a:lnTo>
                  <a:cubicBezTo>
                    <a:pt x="1" y="28122"/>
                    <a:pt x="2122" y="30244"/>
                    <a:pt x="4751" y="30244"/>
                  </a:cubicBezTo>
                  <a:lnTo>
                    <a:pt x="47409" y="30244"/>
                  </a:lnTo>
                  <a:cubicBezTo>
                    <a:pt x="50006" y="30244"/>
                    <a:pt x="52159" y="28122"/>
                    <a:pt x="52159" y="25494"/>
                  </a:cubicBezTo>
                  <a:lnTo>
                    <a:pt x="52159" y="4751"/>
                  </a:lnTo>
                  <a:cubicBezTo>
                    <a:pt x="52159" y="2122"/>
                    <a:pt x="50006" y="0"/>
                    <a:pt x="47409" y="0"/>
                  </a:cubicBezTo>
                  <a:close/>
                </a:path>
              </a:pathLst>
            </a:custGeom>
            <a:solidFill>
              <a:srgbClr val="F7F9F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chemeClr val="bg1"/>
                </a:solidFill>
              </a:endParaRPr>
            </a:p>
          </p:txBody>
        </p:sp>
        <p:sp>
          <p:nvSpPr>
            <p:cNvPr id="116" name="Google Shape;1707;p21">
              <a:extLst>
                <a:ext uri="{FF2B5EF4-FFF2-40B4-BE49-F238E27FC236}">
                  <a16:creationId xmlns:a16="http://schemas.microsoft.com/office/drawing/2014/main" id="{D2E333C7-0B22-EE36-DFDE-347EB80221FD}"/>
                </a:ext>
              </a:extLst>
            </p:cNvPr>
            <p:cNvSpPr/>
            <p:nvPr/>
          </p:nvSpPr>
          <p:spPr>
            <a:xfrm>
              <a:off x="2374300" y="2785569"/>
              <a:ext cx="406983" cy="971178"/>
            </a:xfrm>
            <a:custGeom>
              <a:avLst/>
              <a:gdLst/>
              <a:ahLst/>
              <a:cxnLst/>
              <a:rect l="l" t="t" r="r" b="b"/>
              <a:pathLst>
                <a:path w="13429" h="30245" extrusionOk="0">
                  <a:moveTo>
                    <a:pt x="4751" y="0"/>
                  </a:moveTo>
                  <a:cubicBezTo>
                    <a:pt x="2154" y="0"/>
                    <a:pt x="1" y="2122"/>
                    <a:pt x="1" y="4751"/>
                  </a:cubicBezTo>
                  <a:lnTo>
                    <a:pt x="1" y="25494"/>
                  </a:lnTo>
                  <a:cubicBezTo>
                    <a:pt x="1" y="28122"/>
                    <a:pt x="2154" y="30244"/>
                    <a:pt x="4751" y="30244"/>
                  </a:cubicBezTo>
                  <a:lnTo>
                    <a:pt x="13428" y="30244"/>
                  </a:lnTo>
                  <a:lnTo>
                    <a:pt x="13428" y="0"/>
                  </a:lnTo>
                  <a:close/>
                </a:path>
              </a:pathLst>
            </a:custGeom>
            <a:solidFill>
              <a:srgbClr val="A9DDF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000" dirty="0">
                <a:solidFill>
                  <a:schemeClr val="bg1"/>
                </a:solidFill>
                <a:latin typeface="Fira Sans SemiBold"/>
                <a:ea typeface="Fira Sans SemiBold"/>
                <a:cs typeface="Fira Sans SemiBold"/>
                <a:sym typeface="Fira Sans SemiBold"/>
              </a:endParaRPr>
            </a:p>
          </p:txBody>
        </p:sp>
        <p:sp>
          <p:nvSpPr>
            <p:cNvPr id="117" name="Google Shape;1714;p21">
              <a:extLst>
                <a:ext uri="{FF2B5EF4-FFF2-40B4-BE49-F238E27FC236}">
                  <a16:creationId xmlns:a16="http://schemas.microsoft.com/office/drawing/2014/main" id="{E0042189-1A1D-EDF8-558E-3037AB7A92F3}"/>
                </a:ext>
              </a:extLst>
            </p:cNvPr>
            <p:cNvSpPr txBox="1"/>
            <p:nvPr/>
          </p:nvSpPr>
          <p:spPr>
            <a:xfrm>
              <a:off x="2860124" y="3067197"/>
              <a:ext cx="2337346" cy="4087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 dirty="0">
                  <a:solidFill>
                    <a:schemeClr val="bg1"/>
                  </a:solidFill>
                  <a:latin typeface="Fira Sans Medium"/>
                  <a:sym typeface="Fira Sans Medium"/>
                </a:rPr>
                <a:t>Reference Dataset</a:t>
              </a:r>
              <a:endParaRPr sz="1200" dirty="0">
                <a:solidFill>
                  <a:schemeClr val="bg1"/>
                </a:solidFill>
                <a:latin typeface="Fira Sans Medium"/>
                <a:sym typeface="Fira Sans Medium"/>
              </a:endParaRPr>
            </a:p>
          </p:txBody>
        </p:sp>
      </p:grp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1AB926CE-BA75-2696-6A6F-1A6957C1BCC3}"/>
              </a:ext>
            </a:extLst>
          </p:cNvPr>
          <p:cNvGrpSpPr/>
          <p:nvPr/>
        </p:nvGrpSpPr>
        <p:grpSpPr>
          <a:xfrm>
            <a:off x="6926221" y="1549896"/>
            <a:ext cx="1346136" cy="481862"/>
            <a:chOff x="2374298" y="2785569"/>
            <a:chExt cx="2713096" cy="971178"/>
          </a:xfrm>
        </p:grpSpPr>
        <p:sp>
          <p:nvSpPr>
            <p:cNvPr id="119" name="Google Shape;1706;p21">
              <a:extLst>
                <a:ext uri="{FF2B5EF4-FFF2-40B4-BE49-F238E27FC236}">
                  <a16:creationId xmlns:a16="http://schemas.microsoft.com/office/drawing/2014/main" id="{D1596BC7-C18C-F96A-0E9C-B14059C2BB45}"/>
                </a:ext>
              </a:extLst>
            </p:cNvPr>
            <p:cNvSpPr/>
            <p:nvPr/>
          </p:nvSpPr>
          <p:spPr>
            <a:xfrm>
              <a:off x="2374298" y="2785569"/>
              <a:ext cx="2713096" cy="971178"/>
            </a:xfrm>
            <a:custGeom>
              <a:avLst/>
              <a:gdLst/>
              <a:ahLst/>
              <a:cxnLst/>
              <a:rect l="l" t="t" r="r" b="b"/>
              <a:pathLst>
                <a:path w="52160" h="30245" extrusionOk="0">
                  <a:moveTo>
                    <a:pt x="4751" y="0"/>
                  </a:moveTo>
                  <a:cubicBezTo>
                    <a:pt x="2122" y="0"/>
                    <a:pt x="1" y="2122"/>
                    <a:pt x="1" y="4751"/>
                  </a:cubicBezTo>
                  <a:lnTo>
                    <a:pt x="1" y="25494"/>
                  </a:lnTo>
                  <a:cubicBezTo>
                    <a:pt x="1" y="28122"/>
                    <a:pt x="2122" y="30244"/>
                    <a:pt x="4751" y="30244"/>
                  </a:cubicBezTo>
                  <a:lnTo>
                    <a:pt x="47409" y="30244"/>
                  </a:lnTo>
                  <a:cubicBezTo>
                    <a:pt x="50006" y="30244"/>
                    <a:pt x="52159" y="28122"/>
                    <a:pt x="52159" y="25494"/>
                  </a:cubicBezTo>
                  <a:lnTo>
                    <a:pt x="52159" y="4751"/>
                  </a:lnTo>
                  <a:cubicBezTo>
                    <a:pt x="52159" y="2122"/>
                    <a:pt x="50006" y="0"/>
                    <a:pt x="47409" y="0"/>
                  </a:cubicBezTo>
                  <a:close/>
                </a:path>
              </a:pathLst>
            </a:custGeom>
            <a:solidFill>
              <a:srgbClr val="F7F9F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>
                <a:solidFill>
                  <a:schemeClr val="bg1"/>
                </a:solidFill>
              </a:endParaRPr>
            </a:p>
          </p:txBody>
        </p:sp>
        <p:sp>
          <p:nvSpPr>
            <p:cNvPr id="121" name="Google Shape;1714;p21">
              <a:extLst>
                <a:ext uri="{FF2B5EF4-FFF2-40B4-BE49-F238E27FC236}">
                  <a16:creationId xmlns:a16="http://schemas.microsoft.com/office/drawing/2014/main" id="{44E23CBC-A98C-BF31-3748-1E16F82C36EC}"/>
                </a:ext>
              </a:extLst>
            </p:cNvPr>
            <p:cNvSpPr txBox="1"/>
            <p:nvPr/>
          </p:nvSpPr>
          <p:spPr>
            <a:xfrm>
              <a:off x="2581252" y="3038512"/>
              <a:ext cx="2337346" cy="4087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 dirty="0">
                  <a:solidFill>
                    <a:schemeClr val="bg1"/>
                  </a:solidFill>
                  <a:latin typeface="Fira Sans Medium"/>
                  <a:sym typeface="Fira Sans Medium"/>
                </a:rPr>
                <a:t>User Prompt</a:t>
              </a:r>
              <a:endParaRPr sz="1200" dirty="0">
                <a:solidFill>
                  <a:schemeClr val="bg1"/>
                </a:solidFill>
                <a:latin typeface="Fira Sans Medium"/>
                <a:sym typeface="Fira Sans Medium"/>
              </a:endParaRPr>
            </a:p>
          </p:txBody>
        </p:sp>
      </p:grpSp>
      <p:sp>
        <p:nvSpPr>
          <p:cNvPr id="122" name="Google Shape;2822;p31">
            <a:extLst>
              <a:ext uri="{FF2B5EF4-FFF2-40B4-BE49-F238E27FC236}">
                <a16:creationId xmlns:a16="http://schemas.microsoft.com/office/drawing/2014/main" id="{A017DBAE-8938-86E6-119F-2F5C0A704F14}"/>
              </a:ext>
            </a:extLst>
          </p:cNvPr>
          <p:cNvSpPr txBox="1"/>
          <p:nvPr/>
        </p:nvSpPr>
        <p:spPr>
          <a:xfrm>
            <a:off x="627589" y="656838"/>
            <a:ext cx="2749619" cy="6854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latin typeface="Fira Sans Medium"/>
                <a:ea typeface="Fira Sans Medium"/>
                <a:cs typeface="Fira Sans Medium"/>
                <a:sym typeface="Fira Sans Medium"/>
              </a:rPr>
              <a:t>LLM Lifecycle</a:t>
            </a:r>
          </a:p>
        </p:txBody>
      </p: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C628ED6B-1F17-B0C8-2F35-875F56098179}"/>
              </a:ext>
            </a:extLst>
          </p:cNvPr>
          <p:cNvGrpSpPr/>
          <p:nvPr/>
        </p:nvGrpSpPr>
        <p:grpSpPr>
          <a:xfrm>
            <a:off x="8670888" y="3171991"/>
            <a:ext cx="1346136" cy="481862"/>
            <a:chOff x="2374299" y="2785569"/>
            <a:chExt cx="2713096" cy="971178"/>
          </a:xfrm>
        </p:grpSpPr>
        <p:sp>
          <p:nvSpPr>
            <p:cNvPr id="129" name="Google Shape;1706;p21">
              <a:extLst>
                <a:ext uri="{FF2B5EF4-FFF2-40B4-BE49-F238E27FC236}">
                  <a16:creationId xmlns:a16="http://schemas.microsoft.com/office/drawing/2014/main" id="{E0773D17-5744-607B-525A-E62F16C6E6D7}"/>
                </a:ext>
              </a:extLst>
            </p:cNvPr>
            <p:cNvSpPr/>
            <p:nvPr/>
          </p:nvSpPr>
          <p:spPr>
            <a:xfrm>
              <a:off x="2374299" y="2785569"/>
              <a:ext cx="2713096" cy="971178"/>
            </a:xfrm>
            <a:custGeom>
              <a:avLst/>
              <a:gdLst/>
              <a:ahLst/>
              <a:cxnLst/>
              <a:rect l="l" t="t" r="r" b="b"/>
              <a:pathLst>
                <a:path w="52160" h="30245" extrusionOk="0">
                  <a:moveTo>
                    <a:pt x="4751" y="0"/>
                  </a:moveTo>
                  <a:cubicBezTo>
                    <a:pt x="2122" y="0"/>
                    <a:pt x="1" y="2122"/>
                    <a:pt x="1" y="4751"/>
                  </a:cubicBezTo>
                  <a:lnTo>
                    <a:pt x="1" y="25494"/>
                  </a:lnTo>
                  <a:cubicBezTo>
                    <a:pt x="1" y="28122"/>
                    <a:pt x="2122" y="30244"/>
                    <a:pt x="4751" y="30244"/>
                  </a:cubicBezTo>
                  <a:lnTo>
                    <a:pt x="47409" y="30244"/>
                  </a:lnTo>
                  <a:cubicBezTo>
                    <a:pt x="50006" y="30244"/>
                    <a:pt x="52159" y="28122"/>
                    <a:pt x="52159" y="25494"/>
                  </a:cubicBezTo>
                  <a:lnTo>
                    <a:pt x="52159" y="4751"/>
                  </a:lnTo>
                  <a:cubicBezTo>
                    <a:pt x="52159" y="2122"/>
                    <a:pt x="50006" y="0"/>
                    <a:pt x="47409" y="0"/>
                  </a:cubicBezTo>
                  <a:close/>
                </a:path>
              </a:pathLst>
            </a:custGeom>
            <a:solidFill>
              <a:srgbClr val="F7F9F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chemeClr val="bg1"/>
                </a:solidFill>
              </a:endParaRPr>
            </a:p>
          </p:txBody>
        </p:sp>
        <p:sp>
          <p:nvSpPr>
            <p:cNvPr id="131" name="Google Shape;1714;p21">
              <a:extLst>
                <a:ext uri="{FF2B5EF4-FFF2-40B4-BE49-F238E27FC236}">
                  <a16:creationId xmlns:a16="http://schemas.microsoft.com/office/drawing/2014/main" id="{93C733F1-B71B-3932-5749-94B5DE2A77FD}"/>
                </a:ext>
              </a:extLst>
            </p:cNvPr>
            <p:cNvSpPr txBox="1"/>
            <p:nvPr/>
          </p:nvSpPr>
          <p:spPr>
            <a:xfrm>
              <a:off x="2562173" y="3054761"/>
              <a:ext cx="2337346" cy="4087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 dirty="0">
                  <a:solidFill>
                    <a:schemeClr val="bg1"/>
                  </a:solidFill>
                  <a:latin typeface="Fira Sans Medium"/>
                  <a:sym typeface="Fira Sans Medium"/>
                </a:rPr>
                <a:t>Output</a:t>
              </a:r>
              <a:endParaRPr sz="1200" dirty="0">
                <a:solidFill>
                  <a:schemeClr val="bg1"/>
                </a:solidFill>
                <a:latin typeface="Fira Sans Medium"/>
                <a:sym typeface="Fira Sans Medium"/>
              </a:endParaRPr>
            </a:p>
          </p:txBody>
        </p:sp>
      </p:grp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0E1BE8D5-AD53-2267-CE7F-714A1A0CD60F}"/>
              </a:ext>
            </a:extLst>
          </p:cNvPr>
          <p:cNvGrpSpPr/>
          <p:nvPr/>
        </p:nvGrpSpPr>
        <p:grpSpPr>
          <a:xfrm>
            <a:off x="10488162" y="3168906"/>
            <a:ext cx="1365591" cy="481862"/>
            <a:chOff x="2437474" y="2841418"/>
            <a:chExt cx="2752307" cy="971178"/>
          </a:xfrm>
        </p:grpSpPr>
        <p:sp>
          <p:nvSpPr>
            <p:cNvPr id="133" name="Google Shape;1706;p21">
              <a:extLst>
                <a:ext uri="{FF2B5EF4-FFF2-40B4-BE49-F238E27FC236}">
                  <a16:creationId xmlns:a16="http://schemas.microsoft.com/office/drawing/2014/main" id="{0E2CA6CA-89F9-01AD-C4E4-51FD516F9F5E}"/>
                </a:ext>
              </a:extLst>
            </p:cNvPr>
            <p:cNvSpPr/>
            <p:nvPr/>
          </p:nvSpPr>
          <p:spPr>
            <a:xfrm>
              <a:off x="2437474" y="2841418"/>
              <a:ext cx="2713096" cy="971178"/>
            </a:xfrm>
            <a:custGeom>
              <a:avLst/>
              <a:gdLst/>
              <a:ahLst/>
              <a:cxnLst/>
              <a:rect l="l" t="t" r="r" b="b"/>
              <a:pathLst>
                <a:path w="52160" h="30245" extrusionOk="0">
                  <a:moveTo>
                    <a:pt x="4751" y="0"/>
                  </a:moveTo>
                  <a:cubicBezTo>
                    <a:pt x="2122" y="0"/>
                    <a:pt x="1" y="2122"/>
                    <a:pt x="1" y="4751"/>
                  </a:cubicBezTo>
                  <a:lnTo>
                    <a:pt x="1" y="25494"/>
                  </a:lnTo>
                  <a:cubicBezTo>
                    <a:pt x="1" y="28122"/>
                    <a:pt x="2122" y="30244"/>
                    <a:pt x="4751" y="30244"/>
                  </a:cubicBezTo>
                  <a:lnTo>
                    <a:pt x="47409" y="30244"/>
                  </a:lnTo>
                  <a:cubicBezTo>
                    <a:pt x="50006" y="30244"/>
                    <a:pt x="52159" y="28122"/>
                    <a:pt x="52159" y="25494"/>
                  </a:cubicBezTo>
                  <a:lnTo>
                    <a:pt x="52159" y="4751"/>
                  </a:lnTo>
                  <a:cubicBezTo>
                    <a:pt x="52159" y="2122"/>
                    <a:pt x="50006" y="0"/>
                    <a:pt x="47409" y="0"/>
                  </a:cubicBezTo>
                  <a:close/>
                </a:path>
              </a:pathLst>
            </a:custGeom>
            <a:solidFill>
              <a:srgbClr val="F7F9F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chemeClr val="bg1"/>
                </a:solidFill>
              </a:endParaRPr>
            </a:p>
          </p:txBody>
        </p:sp>
        <p:sp>
          <p:nvSpPr>
            <p:cNvPr id="135" name="Google Shape;1714;p21">
              <a:extLst>
                <a:ext uri="{FF2B5EF4-FFF2-40B4-BE49-F238E27FC236}">
                  <a16:creationId xmlns:a16="http://schemas.microsoft.com/office/drawing/2014/main" id="{49FF66A6-ECB3-F1E5-3661-ADD1BCF2BEF5}"/>
                </a:ext>
              </a:extLst>
            </p:cNvPr>
            <p:cNvSpPr txBox="1"/>
            <p:nvPr/>
          </p:nvSpPr>
          <p:spPr>
            <a:xfrm>
              <a:off x="2476685" y="3137341"/>
              <a:ext cx="2713096" cy="3793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 dirty="0">
                  <a:solidFill>
                    <a:schemeClr val="bg1"/>
                  </a:solidFill>
                  <a:latin typeface="Fira Sans Medium"/>
                  <a:sym typeface="Fira Sans Medium"/>
                </a:rPr>
                <a:t>User Interface</a:t>
              </a:r>
              <a:endParaRPr sz="1200" dirty="0">
                <a:solidFill>
                  <a:schemeClr val="bg1"/>
                </a:solidFill>
                <a:latin typeface="Fira Sans Medium"/>
                <a:sym typeface="Fira Sans Medium"/>
              </a:endParaRPr>
            </a:p>
          </p:txBody>
        </p:sp>
      </p:grp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091EB22C-FE14-ECE6-1B43-8AE4FD887A4A}"/>
              </a:ext>
            </a:extLst>
          </p:cNvPr>
          <p:cNvGrpSpPr/>
          <p:nvPr/>
        </p:nvGrpSpPr>
        <p:grpSpPr>
          <a:xfrm>
            <a:off x="8655391" y="2156151"/>
            <a:ext cx="1346137" cy="481862"/>
            <a:chOff x="2374300" y="2785569"/>
            <a:chExt cx="2713099" cy="971178"/>
          </a:xfrm>
        </p:grpSpPr>
        <p:sp>
          <p:nvSpPr>
            <p:cNvPr id="137" name="Google Shape;1706;p21">
              <a:extLst>
                <a:ext uri="{FF2B5EF4-FFF2-40B4-BE49-F238E27FC236}">
                  <a16:creationId xmlns:a16="http://schemas.microsoft.com/office/drawing/2014/main" id="{BD21A943-C586-584D-6A31-21B578C6D8B3}"/>
                </a:ext>
              </a:extLst>
            </p:cNvPr>
            <p:cNvSpPr/>
            <p:nvPr/>
          </p:nvSpPr>
          <p:spPr>
            <a:xfrm>
              <a:off x="2374302" y="2785569"/>
              <a:ext cx="2713097" cy="971178"/>
            </a:xfrm>
            <a:custGeom>
              <a:avLst/>
              <a:gdLst/>
              <a:ahLst/>
              <a:cxnLst/>
              <a:rect l="l" t="t" r="r" b="b"/>
              <a:pathLst>
                <a:path w="52160" h="30245" extrusionOk="0">
                  <a:moveTo>
                    <a:pt x="4751" y="0"/>
                  </a:moveTo>
                  <a:cubicBezTo>
                    <a:pt x="2122" y="0"/>
                    <a:pt x="1" y="2122"/>
                    <a:pt x="1" y="4751"/>
                  </a:cubicBezTo>
                  <a:lnTo>
                    <a:pt x="1" y="25494"/>
                  </a:lnTo>
                  <a:cubicBezTo>
                    <a:pt x="1" y="28122"/>
                    <a:pt x="2122" y="30244"/>
                    <a:pt x="4751" y="30244"/>
                  </a:cubicBezTo>
                  <a:lnTo>
                    <a:pt x="47409" y="30244"/>
                  </a:lnTo>
                  <a:cubicBezTo>
                    <a:pt x="50006" y="30244"/>
                    <a:pt x="52159" y="28122"/>
                    <a:pt x="52159" y="25494"/>
                  </a:cubicBezTo>
                  <a:lnTo>
                    <a:pt x="52159" y="4751"/>
                  </a:lnTo>
                  <a:cubicBezTo>
                    <a:pt x="52159" y="2122"/>
                    <a:pt x="50006" y="0"/>
                    <a:pt x="47409" y="0"/>
                  </a:cubicBezTo>
                  <a:close/>
                </a:path>
              </a:pathLst>
            </a:custGeom>
            <a:solidFill>
              <a:srgbClr val="F7F9F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chemeClr val="bg1"/>
                </a:solidFill>
              </a:endParaRPr>
            </a:p>
          </p:txBody>
        </p:sp>
        <p:sp>
          <p:nvSpPr>
            <p:cNvPr id="138" name="Google Shape;1707;p21">
              <a:extLst>
                <a:ext uri="{FF2B5EF4-FFF2-40B4-BE49-F238E27FC236}">
                  <a16:creationId xmlns:a16="http://schemas.microsoft.com/office/drawing/2014/main" id="{B421ECD1-CAF3-E93C-62DB-88A885CC9B16}"/>
                </a:ext>
              </a:extLst>
            </p:cNvPr>
            <p:cNvSpPr/>
            <p:nvPr/>
          </p:nvSpPr>
          <p:spPr>
            <a:xfrm>
              <a:off x="2374300" y="2785569"/>
              <a:ext cx="406983" cy="971178"/>
            </a:xfrm>
            <a:custGeom>
              <a:avLst/>
              <a:gdLst/>
              <a:ahLst/>
              <a:cxnLst/>
              <a:rect l="l" t="t" r="r" b="b"/>
              <a:pathLst>
                <a:path w="13429" h="30245" extrusionOk="0">
                  <a:moveTo>
                    <a:pt x="4751" y="0"/>
                  </a:moveTo>
                  <a:cubicBezTo>
                    <a:pt x="2154" y="0"/>
                    <a:pt x="1" y="2122"/>
                    <a:pt x="1" y="4751"/>
                  </a:cubicBezTo>
                  <a:lnTo>
                    <a:pt x="1" y="25494"/>
                  </a:lnTo>
                  <a:cubicBezTo>
                    <a:pt x="1" y="28122"/>
                    <a:pt x="2154" y="30244"/>
                    <a:pt x="4751" y="30244"/>
                  </a:cubicBezTo>
                  <a:lnTo>
                    <a:pt x="13428" y="30244"/>
                  </a:lnTo>
                  <a:lnTo>
                    <a:pt x="13428" y="0"/>
                  </a:lnTo>
                  <a:close/>
                </a:path>
              </a:pathLst>
            </a:custGeom>
            <a:solidFill>
              <a:srgbClr val="9E987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000" dirty="0">
                <a:solidFill>
                  <a:schemeClr val="bg1"/>
                </a:solidFill>
                <a:latin typeface="Fira Sans SemiBold"/>
                <a:ea typeface="Fira Sans SemiBold"/>
                <a:cs typeface="Fira Sans SemiBold"/>
                <a:sym typeface="Fira Sans SemiBold"/>
              </a:endParaRPr>
            </a:p>
          </p:txBody>
        </p:sp>
        <p:sp>
          <p:nvSpPr>
            <p:cNvPr id="139" name="Google Shape;1714;p21">
              <a:extLst>
                <a:ext uri="{FF2B5EF4-FFF2-40B4-BE49-F238E27FC236}">
                  <a16:creationId xmlns:a16="http://schemas.microsoft.com/office/drawing/2014/main" id="{A7872C0D-EA24-E9C7-7931-109C14DDF1E4}"/>
                </a:ext>
              </a:extLst>
            </p:cNvPr>
            <p:cNvSpPr txBox="1"/>
            <p:nvPr/>
          </p:nvSpPr>
          <p:spPr>
            <a:xfrm>
              <a:off x="2715370" y="3073872"/>
              <a:ext cx="2337347" cy="4087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 dirty="0">
                  <a:solidFill>
                    <a:schemeClr val="bg1"/>
                  </a:solidFill>
                  <a:latin typeface="Fira Sans Medium"/>
                  <a:sym typeface="Fira Sans Medium"/>
                </a:rPr>
                <a:t>Monitoring</a:t>
              </a:r>
              <a:endParaRPr sz="1200" dirty="0">
                <a:solidFill>
                  <a:schemeClr val="bg1"/>
                </a:solidFill>
                <a:latin typeface="Fira Sans Medium"/>
                <a:sym typeface="Fira Sans Medium"/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A037E705-73DC-BB5C-FCA9-CF7318A3A7A1}"/>
              </a:ext>
            </a:extLst>
          </p:cNvPr>
          <p:cNvGrpSpPr/>
          <p:nvPr/>
        </p:nvGrpSpPr>
        <p:grpSpPr>
          <a:xfrm>
            <a:off x="7750721" y="5063175"/>
            <a:ext cx="1346136" cy="481862"/>
            <a:chOff x="2374300" y="2785569"/>
            <a:chExt cx="2713096" cy="971178"/>
          </a:xfrm>
        </p:grpSpPr>
        <p:sp>
          <p:nvSpPr>
            <p:cNvPr id="141" name="Google Shape;1706;p21">
              <a:extLst>
                <a:ext uri="{FF2B5EF4-FFF2-40B4-BE49-F238E27FC236}">
                  <a16:creationId xmlns:a16="http://schemas.microsoft.com/office/drawing/2014/main" id="{529AEBE2-BEF6-4BBB-E6A5-0EE4C72FB058}"/>
                </a:ext>
              </a:extLst>
            </p:cNvPr>
            <p:cNvSpPr/>
            <p:nvPr/>
          </p:nvSpPr>
          <p:spPr>
            <a:xfrm>
              <a:off x="2374300" y="2785569"/>
              <a:ext cx="2713096" cy="971178"/>
            </a:xfrm>
            <a:custGeom>
              <a:avLst/>
              <a:gdLst/>
              <a:ahLst/>
              <a:cxnLst/>
              <a:rect l="l" t="t" r="r" b="b"/>
              <a:pathLst>
                <a:path w="52160" h="30245" extrusionOk="0">
                  <a:moveTo>
                    <a:pt x="4751" y="0"/>
                  </a:moveTo>
                  <a:cubicBezTo>
                    <a:pt x="2122" y="0"/>
                    <a:pt x="1" y="2122"/>
                    <a:pt x="1" y="4751"/>
                  </a:cubicBezTo>
                  <a:lnTo>
                    <a:pt x="1" y="25494"/>
                  </a:lnTo>
                  <a:cubicBezTo>
                    <a:pt x="1" y="28122"/>
                    <a:pt x="2122" y="30244"/>
                    <a:pt x="4751" y="30244"/>
                  </a:cubicBezTo>
                  <a:lnTo>
                    <a:pt x="47409" y="30244"/>
                  </a:lnTo>
                  <a:cubicBezTo>
                    <a:pt x="50006" y="30244"/>
                    <a:pt x="52159" y="28122"/>
                    <a:pt x="52159" y="25494"/>
                  </a:cubicBezTo>
                  <a:lnTo>
                    <a:pt x="52159" y="4751"/>
                  </a:lnTo>
                  <a:cubicBezTo>
                    <a:pt x="52159" y="2122"/>
                    <a:pt x="50006" y="0"/>
                    <a:pt x="47409" y="0"/>
                  </a:cubicBezTo>
                  <a:close/>
                </a:path>
              </a:pathLst>
            </a:custGeom>
            <a:solidFill>
              <a:srgbClr val="F7F9F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chemeClr val="bg1"/>
                </a:solidFill>
              </a:endParaRPr>
            </a:p>
          </p:txBody>
        </p:sp>
        <p:sp>
          <p:nvSpPr>
            <p:cNvPr id="142" name="Google Shape;1707;p21">
              <a:extLst>
                <a:ext uri="{FF2B5EF4-FFF2-40B4-BE49-F238E27FC236}">
                  <a16:creationId xmlns:a16="http://schemas.microsoft.com/office/drawing/2014/main" id="{B0D5A508-E6E8-53E5-7E09-E2C7B17C57ED}"/>
                </a:ext>
              </a:extLst>
            </p:cNvPr>
            <p:cNvSpPr/>
            <p:nvPr/>
          </p:nvSpPr>
          <p:spPr>
            <a:xfrm>
              <a:off x="2374300" y="2785569"/>
              <a:ext cx="406983" cy="971178"/>
            </a:xfrm>
            <a:custGeom>
              <a:avLst/>
              <a:gdLst/>
              <a:ahLst/>
              <a:cxnLst/>
              <a:rect l="l" t="t" r="r" b="b"/>
              <a:pathLst>
                <a:path w="13429" h="30245" extrusionOk="0">
                  <a:moveTo>
                    <a:pt x="4751" y="0"/>
                  </a:moveTo>
                  <a:cubicBezTo>
                    <a:pt x="2154" y="0"/>
                    <a:pt x="1" y="2122"/>
                    <a:pt x="1" y="4751"/>
                  </a:cubicBezTo>
                  <a:lnTo>
                    <a:pt x="1" y="25494"/>
                  </a:lnTo>
                  <a:cubicBezTo>
                    <a:pt x="1" y="28122"/>
                    <a:pt x="2154" y="30244"/>
                    <a:pt x="4751" y="30244"/>
                  </a:cubicBezTo>
                  <a:lnTo>
                    <a:pt x="13428" y="30244"/>
                  </a:lnTo>
                  <a:lnTo>
                    <a:pt x="13428" y="0"/>
                  </a:lnTo>
                  <a:close/>
                </a:path>
              </a:pathLst>
            </a:custGeom>
            <a:solidFill>
              <a:srgbClr val="9E987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000" dirty="0">
                <a:solidFill>
                  <a:schemeClr val="bg1"/>
                </a:solidFill>
                <a:latin typeface="Fira Sans SemiBold"/>
                <a:ea typeface="Fira Sans SemiBold"/>
                <a:cs typeface="Fira Sans SemiBold"/>
                <a:sym typeface="Fira Sans SemiBold"/>
              </a:endParaRPr>
            </a:p>
          </p:txBody>
        </p:sp>
        <p:sp>
          <p:nvSpPr>
            <p:cNvPr id="143" name="Google Shape;1714;p21">
              <a:extLst>
                <a:ext uri="{FF2B5EF4-FFF2-40B4-BE49-F238E27FC236}">
                  <a16:creationId xmlns:a16="http://schemas.microsoft.com/office/drawing/2014/main" id="{E7CE8B8A-BDAA-9F64-523D-2DD794FE6537}"/>
                </a:ext>
              </a:extLst>
            </p:cNvPr>
            <p:cNvSpPr txBox="1"/>
            <p:nvPr/>
          </p:nvSpPr>
          <p:spPr>
            <a:xfrm>
              <a:off x="2562174" y="3066802"/>
              <a:ext cx="2337346" cy="4087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 dirty="0">
                  <a:solidFill>
                    <a:schemeClr val="bg1"/>
                  </a:solidFill>
                  <a:latin typeface="Fira Sans Medium"/>
                  <a:sym typeface="Fira Sans Medium"/>
                </a:rPr>
                <a:t>Evaluator</a:t>
              </a:r>
              <a:endParaRPr sz="1200" dirty="0">
                <a:solidFill>
                  <a:schemeClr val="bg1"/>
                </a:solidFill>
                <a:latin typeface="Fira Sans Medium"/>
                <a:sym typeface="Fira Sans Medium"/>
              </a:endParaRPr>
            </a:p>
          </p:txBody>
        </p:sp>
      </p:grpSp>
      <p:sp>
        <p:nvSpPr>
          <p:cNvPr id="148" name="Google Shape;1712;p21">
            <a:extLst>
              <a:ext uri="{FF2B5EF4-FFF2-40B4-BE49-F238E27FC236}">
                <a16:creationId xmlns:a16="http://schemas.microsoft.com/office/drawing/2014/main" id="{9414E012-6CF1-C480-35E1-45A828D3AAD3}"/>
              </a:ext>
            </a:extLst>
          </p:cNvPr>
          <p:cNvSpPr txBox="1"/>
          <p:nvPr/>
        </p:nvSpPr>
        <p:spPr>
          <a:xfrm>
            <a:off x="7066325" y="3237620"/>
            <a:ext cx="1133425" cy="3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dirty="0">
                <a:solidFill>
                  <a:schemeClr val="bg1"/>
                </a:solidFill>
                <a:latin typeface="Fira Sans Medium"/>
                <a:ea typeface="Fira Sans Medium"/>
                <a:cs typeface="Fira Sans Medium"/>
                <a:sym typeface="Fira Sans Medium"/>
              </a:rPr>
              <a:t>Production LLM APP</a:t>
            </a:r>
            <a:endParaRPr sz="1200" dirty="0">
              <a:solidFill>
                <a:schemeClr val="bg1"/>
              </a:solidFill>
              <a:latin typeface="Fira Sans Medium"/>
              <a:ea typeface="Fira Sans Medium"/>
              <a:cs typeface="Fira Sans Medium"/>
              <a:sym typeface="Fira Sans Medium"/>
            </a:endParaRPr>
          </a:p>
        </p:txBody>
      </p:sp>
      <p:cxnSp>
        <p:nvCxnSpPr>
          <p:cNvPr id="218" name="Straight Arrow Connector 217">
            <a:extLst>
              <a:ext uri="{FF2B5EF4-FFF2-40B4-BE49-F238E27FC236}">
                <a16:creationId xmlns:a16="http://schemas.microsoft.com/office/drawing/2014/main" id="{FFD3C184-8FAE-BCDD-E0AD-2BA604F8CD22}"/>
              </a:ext>
            </a:extLst>
          </p:cNvPr>
          <p:cNvCxnSpPr>
            <a:cxnSpLocks/>
          </p:cNvCxnSpPr>
          <p:nvPr/>
        </p:nvCxnSpPr>
        <p:spPr>
          <a:xfrm>
            <a:off x="5185357" y="5692865"/>
            <a:ext cx="0" cy="114277"/>
          </a:xfrm>
          <a:prstGeom prst="straightConnector1">
            <a:avLst/>
          </a:prstGeom>
          <a:ln w="25400">
            <a:solidFill>
              <a:schemeClr val="tx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>
            <a:extLst>
              <a:ext uri="{FF2B5EF4-FFF2-40B4-BE49-F238E27FC236}">
                <a16:creationId xmlns:a16="http://schemas.microsoft.com/office/drawing/2014/main" id="{274F85D2-E58E-6262-59C3-BB948A2A5891}"/>
              </a:ext>
            </a:extLst>
          </p:cNvPr>
          <p:cNvCxnSpPr/>
          <p:nvPr/>
        </p:nvCxnSpPr>
        <p:spPr>
          <a:xfrm>
            <a:off x="5180621" y="5325687"/>
            <a:ext cx="0" cy="102025"/>
          </a:xfrm>
          <a:prstGeom prst="line">
            <a:avLst/>
          </a:prstGeom>
          <a:ln w="25400">
            <a:solidFill>
              <a:schemeClr val="tx1">
                <a:lumMod val="7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3" name="TextBox 222">
            <a:extLst>
              <a:ext uri="{FF2B5EF4-FFF2-40B4-BE49-F238E27FC236}">
                <a16:creationId xmlns:a16="http://schemas.microsoft.com/office/drawing/2014/main" id="{4C855CF9-A458-413D-DF0C-32321336676B}"/>
              </a:ext>
            </a:extLst>
          </p:cNvPr>
          <p:cNvSpPr txBox="1"/>
          <p:nvPr/>
        </p:nvSpPr>
        <p:spPr>
          <a:xfrm>
            <a:off x="4872552" y="5415552"/>
            <a:ext cx="62132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err="1"/>
              <a:t>Testing</a:t>
            </a:r>
            <a:endParaRPr lang="de-AT" sz="1200" dirty="0"/>
          </a:p>
        </p:txBody>
      </p:sp>
      <p:sp>
        <p:nvSpPr>
          <p:cNvPr id="227" name="TextBox 226">
            <a:extLst>
              <a:ext uri="{FF2B5EF4-FFF2-40B4-BE49-F238E27FC236}">
                <a16:creationId xmlns:a16="http://schemas.microsoft.com/office/drawing/2014/main" id="{C50B35CF-83B2-3AD6-85C3-EB86C9079522}"/>
              </a:ext>
            </a:extLst>
          </p:cNvPr>
          <p:cNvSpPr txBox="1"/>
          <p:nvPr/>
        </p:nvSpPr>
        <p:spPr>
          <a:xfrm>
            <a:off x="2553758" y="5493442"/>
            <a:ext cx="39536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/>
              <a:t>Fail</a:t>
            </a:r>
            <a:endParaRPr lang="de-AT" sz="1200" dirty="0"/>
          </a:p>
        </p:txBody>
      </p:sp>
      <p:cxnSp>
        <p:nvCxnSpPr>
          <p:cNvPr id="234" name="Straight Arrow Connector 233">
            <a:extLst>
              <a:ext uri="{FF2B5EF4-FFF2-40B4-BE49-F238E27FC236}">
                <a16:creationId xmlns:a16="http://schemas.microsoft.com/office/drawing/2014/main" id="{3AE72128-E06E-6A19-C9A5-53938854C969}"/>
              </a:ext>
            </a:extLst>
          </p:cNvPr>
          <p:cNvCxnSpPr>
            <a:cxnSpLocks/>
            <a:stCxn id="227" idx="0"/>
          </p:cNvCxnSpPr>
          <p:nvPr/>
        </p:nvCxnSpPr>
        <p:spPr>
          <a:xfrm flipV="1">
            <a:off x="2751441" y="5359400"/>
            <a:ext cx="1284" cy="134042"/>
          </a:xfrm>
          <a:prstGeom prst="straightConnector1">
            <a:avLst/>
          </a:prstGeom>
          <a:ln w="25400">
            <a:solidFill>
              <a:schemeClr val="tx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0" name="TextBox 269">
            <a:extLst>
              <a:ext uri="{FF2B5EF4-FFF2-40B4-BE49-F238E27FC236}">
                <a16:creationId xmlns:a16="http://schemas.microsoft.com/office/drawing/2014/main" id="{8566CDDB-778D-41C2-EE92-14F82417190E}"/>
              </a:ext>
            </a:extLst>
          </p:cNvPr>
          <p:cNvSpPr txBox="1"/>
          <p:nvPr/>
        </p:nvSpPr>
        <p:spPr>
          <a:xfrm>
            <a:off x="6742539" y="4740714"/>
            <a:ext cx="4570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/>
              <a:t>Pass</a:t>
            </a:r>
            <a:endParaRPr lang="de-AT" sz="1200" dirty="0"/>
          </a:p>
        </p:txBody>
      </p:sp>
      <p:cxnSp>
        <p:nvCxnSpPr>
          <p:cNvPr id="271" name="Straight Arrow Connector 270">
            <a:extLst>
              <a:ext uri="{FF2B5EF4-FFF2-40B4-BE49-F238E27FC236}">
                <a16:creationId xmlns:a16="http://schemas.microsoft.com/office/drawing/2014/main" id="{D4A528DD-F0D1-202A-A20E-35097955C590}"/>
              </a:ext>
            </a:extLst>
          </p:cNvPr>
          <p:cNvCxnSpPr>
            <a:cxnSpLocks/>
          </p:cNvCxnSpPr>
          <p:nvPr/>
        </p:nvCxnSpPr>
        <p:spPr>
          <a:xfrm flipV="1">
            <a:off x="7085893" y="4028292"/>
            <a:ext cx="513396" cy="679803"/>
          </a:xfrm>
          <a:prstGeom prst="straightConnector1">
            <a:avLst/>
          </a:prstGeom>
          <a:ln w="25400">
            <a:solidFill>
              <a:schemeClr val="tx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2" name="Straight Arrow Connector 291">
            <a:extLst>
              <a:ext uri="{FF2B5EF4-FFF2-40B4-BE49-F238E27FC236}">
                <a16:creationId xmlns:a16="http://schemas.microsoft.com/office/drawing/2014/main" id="{86FA36F7-7028-AD4C-888D-241F049C95D9}"/>
              </a:ext>
            </a:extLst>
          </p:cNvPr>
          <p:cNvCxnSpPr>
            <a:cxnSpLocks/>
            <a:stCxn id="298" idx="0"/>
          </p:cNvCxnSpPr>
          <p:nvPr/>
        </p:nvCxnSpPr>
        <p:spPr>
          <a:xfrm rot="16200000" flipV="1">
            <a:off x="10499318" y="1902885"/>
            <a:ext cx="162328" cy="1143985"/>
          </a:xfrm>
          <a:prstGeom prst="bentConnector2">
            <a:avLst/>
          </a:prstGeom>
          <a:ln w="25400">
            <a:solidFill>
              <a:schemeClr val="tx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8" name="TextBox 297">
            <a:extLst>
              <a:ext uri="{FF2B5EF4-FFF2-40B4-BE49-F238E27FC236}">
                <a16:creationId xmlns:a16="http://schemas.microsoft.com/office/drawing/2014/main" id="{3E9B4D3E-8AD5-DFDC-FBA8-5523405F16A8}"/>
              </a:ext>
            </a:extLst>
          </p:cNvPr>
          <p:cNvSpPr txBox="1"/>
          <p:nvPr/>
        </p:nvSpPr>
        <p:spPr>
          <a:xfrm>
            <a:off x="10519448" y="2556042"/>
            <a:ext cx="12660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/>
              <a:t>Human Feedback</a:t>
            </a:r>
            <a:endParaRPr lang="de-AT" sz="1200" dirty="0"/>
          </a:p>
        </p:txBody>
      </p:sp>
      <p:grpSp>
        <p:nvGrpSpPr>
          <p:cNvPr id="354" name="Group 353">
            <a:extLst>
              <a:ext uri="{FF2B5EF4-FFF2-40B4-BE49-F238E27FC236}">
                <a16:creationId xmlns:a16="http://schemas.microsoft.com/office/drawing/2014/main" id="{00A40342-7235-EA0D-9E3B-9CA568DFD713}"/>
              </a:ext>
            </a:extLst>
          </p:cNvPr>
          <p:cNvGrpSpPr/>
          <p:nvPr/>
        </p:nvGrpSpPr>
        <p:grpSpPr>
          <a:xfrm>
            <a:off x="4503579" y="2919872"/>
            <a:ext cx="1386902" cy="442721"/>
            <a:chOff x="2656416" y="4646233"/>
            <a:chExt cx="1386902" cy="442721"/>
          </a:xfrm>
        </p:grpSpPr>
        <p:sp>
          <p:nvSpPr>
            <p:cNvPr id="355" name="Google Shape;1706;p21">
              <a:extLst>
                <a:ext uri="{FF2B5EF4-FFF2-40B4-BE49-F238E27FC236}">
                  <a16:creationId xmlns:a16="http://schemas.microsoft.com/office/drawing/2014/main" id="{1CDBDAA3-E6AE-359E-64FE-CF33F369C8B8}"/>
                </a:ext>
              </a:extLst>
            </p:cNvPr>
            <p:cNvSpPr/>
            <p:nvPr/>
          </p:nvSpPr>
          <p:spPr>
            <a:xfrm>
              <a:off x="2671912" y="4646233"/>
              <a:ext cx="1346136" cy="442721"/>
            </a:xfrm>
            <a:custGeom>
              <a:avLst/>
              <a:gdLst/>
              <a:ahLst/>
              <a:cxnLst/>
              <a:rect l="l" t="t" r="r" b="b"/>
              <a:pathLst>
                <a:path w="52160" h="30245" extrusionOk="0">
                  <a:moveTo>
                    <a:pt x="4751" y="0"/>
                  </a:moveTo>
                  <a:cubicBezTo>
                    <a:pt x="2122" y="0"/>
                    <a:pt x="1" y="2122"/>
                    <a:pt x="1" y="4751"/>
                  </a:cubicBezTo>
                  <a:lnTo>
                    <a:pt x="1" y="25494"/>
                  </a:lnTo>
                  <a:cubicBezTo>
                    <a:pt x="1" y="28122"/>
                    <a:pt x="2122" y="30244"/>
                    <a:pt x="4751" y="30244"/>
                  </a:cubicBezTo>
                  <a:lnTo>
                    <a:pt x="47409" y="30244"/>
                  </a:lnTo>
                  <a:cubicBezTo>
                    <a:pt x="50006" y="30244"/>
                    <a:pt x="52159" y="28122"/>
                    <a:pt x="52159" y="25494"/>
                  </a:cubicBezTo>
                  <a:lnTo>
                    <a:pt x="52159" y="4751"/>
                  </a:lnTo>
                  <a:cubicBezTo>
                    <a:pt x="52159" y="2122"/>
                    <a:pt x="50006" y="0"/>
                    <a:pt x="47409" y="0"/>
                  </a:cubicBezTo>
                  <a:close/>
                </a:path>
              </a:pathLst>
            </a:custGeom>
            <a:solidFill>
              <a:srgbClr val="F7F9F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>
                <a:solidFill>
                  <a:schemeClr val="bg1"/>
                </a:solidFill>
              </a:endParaRPr>
            </a:p>
          </p:txBody>
        </p:sp>
        <p:sp>
          <p:nvSpPr>
            <p:cNvPr id="356" name="Google Shape;1707;p21">
              <a:extLst>
                <a:ext uri="{FF2B5EF4-FFF2-40B4-BE49-F238E27FC236}">
                  <a16:creationId xmlns:a16="http://schemas.microsoft.com/office/drawing/2014/main" id="{3031B8F8-0312-84BD-D04A-92A106450075}"/>
                </a:ext>
              </a:extLst>
            </p:cNvPr>
            <p:cNvSpPr/>
            <p:nvPr/>
          </p:nvSpPr>
          <p:spPr>
            <a:xfrm>
              <a:off x="2656416" y="4646233"/>
              <a:ext cx="201930" cy="442721"/>
            </a:xfrm>
            <a:custGeom>
              <a:avLst/>
              <a:gdLst/>
              <a:ahLst/>
              <a:cxnLst/>
              <a:rect l="l" t="t" r="r" b="b"/>
              <a:pathLst>
                <a:path w="13429" h="30245" extrusionOk="0">
                  <a:moveTo>
                    <a:pt x="4751" y="0"/>
                  </a:moveTo>
                  <a:cubicBezTo>
                    <a:pt x="2154" y="0"/>
                    <a:pt x="1" y="2122"/>
                    <a:pt x="1" y="4751"/>
                  </a:cubicBezTo>
                  <a:lnTo>
                    <a:pt x="1" y="25494"/>
                  </a:lnTo>
                  <a:cubicBezTo>
                    <a:pt x="1" y="28122"/>
                    <a:pt x="2154" y="30244"/>
                    <a:pt x="4751" y="30244"/>
                  </a:cubicBezTo>
                  <a:lnTo>
                    <a:pt x="13428" y="30244"/>
                  </a:lnTo>
                  <a:lnTo>
                    <a:pt x="13428" y="0"/>
                  </a:lnTo>
                  <a:close/>
                </a:path>
              </a:pathLst>
            </a:custGeom>
            <a:solidFill>
              <a:srgbClr val="A4DDC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/>
              <a:endParaRPr sz="3000" dirty="0">
                <a:solidFill>
                  <a:schemeClr val="bg1"/>
                </a:solidFill>
                <a:latin typeface="Fira Sans SemiBold"/>
                <a:sym typeface="Fira Sans SemiBold"/>
              </a:endParaRPr>
            </a:p>
          </p:txBody>
        </p:sp>
        <p:sp>
          <p:nvSpPr>
            <p:cNvPr id="357" name="Google Shape;1714;p21">
              <a:extLst>
                <a:ext uri="{FF2B5EF4-FFF2-40B4-BE49-F238E27FC236}">
                  <a16:creationId xmlns:a16="http://schemas.microsoft.com/office/drawing/2014/main" id="{DF5B3E61-F912-4D5E-32B3-E614744634BA}"/>
                </a:ext>
              </a:extLst>
            </p:cNvPr>
            <p:cNvSpPr txBox="1"/>
            <p:nvPr/>
          </p:nvSpPr>
          <p:spPr>
            <a:xfrm>
              <a:off x="2697182" y="4805565"/>
              <a:ext cx="1346136" cy="13325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 dirty="0">
                  <a:solidFill>
                    <a:schemeClr val="bg1"/>
                  </a:solidFill>
                  <a:latin typeface="Fira Sans Medium"/>
                  <a:sym typeface="Fira Sans Medium"/>
                </a:rPr>
                <a:t>Agent</a:t>
              </a:r>
              <a:endParaRPr sz="1200" dirty="0">
                <a:solidFill>
                  <a:schemeClr val="bg1"/>
                </a:solidFill>
                <a:latin typeface="Fira Sans Medium"/>
                <a:sym typeface="Fira Sans Medium"/>
              </a:endParaRPr>
            </a:p>
          </p:txBody>
        </p:sp>
      </p:grpSp>
      <p:grpSp>
        <p:nvGrpSpPr>
          <p:cNvPr id="358" name="Group 357">
            <a:extLst>
              <a:ext uri="{FF2B5EF4-FFF2-40B4-BE49-F238E27FC236}">
                <a16:creationId xmlns:a16="http://schemas.microsoft.com/office/drawing/2014/main" id="{49923A4A-F000-F6D9-98FC-A8727B3B0B2E}"/>
              </a:ext>
            </a:extLst>
          </p:cNvPr>
          <p:cNvGrpSpPr/>
          <p:nvPr/>
        </p:nvGrpSpPr>
        <p:grpSpPr>
          <a:xfrm>
            <a:off x="4517259" y="3456813"/>
            <a:ext cx="1386902" cy="442721"/>
            <a:chOff x="2656416" y="4646233"/>
            <a:chExt cx="1386902" cy="442721"/>
          </a:xfrm>
        </p:grpSpPr>
        <p:sp>
          <p:nvSpPr>
            <p:cNvPr id="359" name="Google Shape;1706;p21">
              <a:extLst>
                <a:ext uri="{FF2B5EF4-FFF2-40B4-BE49-F238E27FC236}">
                  <a16:creationId xmlns:a16="http://schemas.microsoft.com/office/drawing/2014/main" id="{C0CB534D-C4A4-06F6-D445-30F45F65BDD7}"/>
                </a:ext>
              </a:extLst>
            </p:cNvPr>
            <p:cNvSpPr/>
            <p:nvPr/>
          </p:nvSpPr>
          <p:spPr>
            <a:xfrm>
              <a:off x="2671912" y="4646233"/>
              <a:ext cx="1346136" cy="442721"/>
            </a:xfrm>
            <a:custGeom>
              <a:avLst/>
              <a:gdLst/>
              <a:ahLst/>
              <a:cxnLst/>
              <a:rect l="l" t="t" r="r" b="b"/>
              <a:pathLst>
                <a:path w="52160" h="30245" extrusionOk="0">
                  <a:moveTo>
                    <a:pt x="4751" y="0"/>
                  </a:moveTo>
                  <a:cubicBezTo>
                    <a:pt x="2122" y="0"/>
                    <a:pt x="1" y="2122"/>
                    <a:pt x="1" y="4751"/>
                  </a:cubicBezTo>
                  <a:lnTo>
                    <a:pt x="1" y="25494"/>
                  </a:lnTo>
                  <a:cubicBezTo>
                    <a:pt x="1" y="28122"/>
                    <a:pt x="2122" y="30244"/>
                    <a:pt x="4751" y="30244"/>
                  </a:cubicBezTo>
                  <a:lnTo>
                    <a:pt x="47409" y="30244"/>
                  </a:lnTo>
                  <a:cubicBezTo>
                    <a:pt x="50006" y="30244"/>
                    <a:pt x="52159" y="28122"/>
                    <a:pt x="52159" y="25494"/>
                  </a:cubicBezTo>
                  <a:lnTo>
                    <a:pt x="52159" y="4751"/>
                  </a:lnTo>
                  <a:cubicBezTo>
                    <a:pt x="52159" y="2122"/>
                    <a:pt x="50006" y="0"/>
                    <a:pt x="47409" y="0"/>
                  </a:cubicBezTo>
                  <a:close/>
                </a:path>
              </a:pathLst>
            </a:custGeom>
            <a:solidFill>
              <a:srgbClr val="F7F9F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>
                <a:solidFill>
                  <a:schemeClr val="bg1"/>
                </a:solidFill>
              </a:endParaRPr>
            </a:p>
          </p:txBody>
        </p:sp>
        <p:sp>
          <p:nvSpPr>
            <p:cNvPr id="360" name="Google Shape;1707;p21">
              <a:extLst>
                <a:ext uri="{FF2B5EF4-FFF2-40B4-BE49-F238E27FC236}">
                  <a16:creationId xmlns:a16="http://schemas.microsoft.com/office/drawing/2014/main" id="{02F3F9F3-45AD-6A1C-C853-1806024EB7B3}"/>
                </a:ext>
              </a:extLst>
            </p:cNvPr>
            <p:cNvSpPr/>
            <p:nvPr/>
          </p:nvSpPr>
          <p:spPr>
            <a:xfrm>
              <a:off x="2656416" y="4646233"/>
              <a:ext cx="201930" cy="442721"/>
            </a:xfrm>
            <a:custGeom>
              <a:avLst/>
              <a:gdLst/>
              <a:ahLst/>
              <a:cxnLst/>
              <a:rect l="l" t="t" r="r" b="b"/>
              <a:pathLst>
                <a:path w="13429" h="30245" extrusionOk="0">
                  <a:moveTo>
                    <a:pt x="4751" y="0"/>
                  </a:moveTo>
                  <a:cubicBezTo>
                    <a:pt x="2154" y="0"/>
                    <a:pt x="1" y="2122"/>
                    <a:pt x="1" y="4751"/>
                  </a:cubicBezTo>
                  <a:lnTo>
                    <a:pt x="1" y="25494"/>
                  </a:lnTo>
                  <a:cubicBezTo>
                    <a:pt x="1" y="28122"/>
                    <a:pt x="2154" y="30244"/>
                    <a:pt x="4751" y="30244"/>
                  </a:cubicBezTo>
                  <a:lnTo>
                    <a:pt x="13428" y="30244"/>
                  </a:lnTo>
                  <a:lnTo>
                    <a:pt x="13428" y="0"/>
                  </a:lnTo>
                  <a:close/>
                </a:path>
              </a:pathLst>
            </a:custGeom>
            <a:solidFill>
              <a:srgbClr val="A4DDC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/>
              <a:endParaRPr sz="3000" dirty="0">
                <a:solidFill>
                  <a:schemeClr val="bg1"/>
                </a:solidFill>
                <a:latin typeface="Fira Sans SemiBold"/>
                <a:sym typeface="Fira Sans SemiBold"/>
              </a:endParaRPr>
            </a:p>
          </p:txBody>
        </p:sp>
        <p:sp>
          <p:nvSpPr>
            <p:cNvPr id="361" name="Google Shape;1714;p21">
              <a:extLst>
                <a:ext uri="{FF2B5EF4-FFF2-40B4-BE49-F238E27FC236}">
                  <a16:creationId xmlns:a16="http://schemas.microsoft.com/office/drawing/2014/main" id="{07ACBB22-415F-5D5B-6DA5-265D02EA8453}"/>
                </a:ext>
              </a:extLst>
            </p:cNvPr>
            <p:cNvSpPr txBox="1"/>
            <p:nvPr/>
          </p:nvSpPr>
          <p:spPr>
            <a:xfrm>
              <a:off x="2697182" y="4805565"/>
              <a:ext cx="1346136" cy="13325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 dirty="0">
                  <a:solidFill>
                    <a:schemeClr val="bg1"/>
                  </a:solidFill>
                  <a:latin typeface="Fira Sans Medium"/>
                  <a:sym typeface="Fira Sans Medium"/>
                </a:rPr>
                <a:t>Embeddings</a:t>
              </a:r>
              <a:endParaRPr sz="1200" dirty="0">
                <a:solidFill>
                  <a:schemeClr val="bg1"/>
                </a:solidFill>
                <a:latin typeface="Fira Sans Medium"/>
                <a:sym typeface="Fira Sans Medium"/>
              </a:endParaRPr>
            </a:p>
          </p:txBody>
        </p:sp>
      </p:grpSp>
      <p:grpSp>
        <p:nvGrpSpPr>
          <p:cNvPr id="428" name="Group 427">
            <a:extLst>
              <a:ext uri="{FF2B5EF4-FFF2-40B4-BE49-F238E27FC236}">
                <a16:creationId xmlns:a16="http://schemas.microsoft.com/office/drawing/2014/main" id="{216B763A-25A3-B708-05CF-EE3B019E395F}"/>
              </a:ext>
            </a:extLst>
          </p:cNvPr>
          <p:cNvGrpSpPr/>
          <p:nvPr/>
        </p:nvGrpSpPr>
        <p:grpSpPr>
          <a:xfrm>
            <a:off x="9639895" y="3842575"/>
            <a:ext cx="1254636" cy="481862"/>
            <a:chOff x="2374300" y="2785569"/>
            <a:chExt cx="2528681" cy="971178"/>
          </a:xfrm>
        </p:grpSpPr>
        <p:sp>
          <p:nvSpPr>
            <p:cNvPr id="430" name="Google Shape;1707;p21">
              <a:extLst>
                <a:ext uri="{FF2B5EF4-FFF2-40B4-BE49-F238E27FC236}">
                  <a16:creationId xmlns:a16="http://schemas.microsoft.com/office/drawing/2014/main" id="{474E99B3-D743-BA3B-54A8-FD2634783E7C}"/>
                </a:ext>
              </a:extLst>
            </p:cNvPr>
            <p:cNvSpPr/>
            <p:nvPr/>
          </p:nvSpPr>
          <p:spPr>
            <a:xfrm>
              <a:off x="2374300" y="2785569"/>
              <a:ext cx="406984" cy="971178"/>
            </a:xfrm>
            <a:custGeom>
              <a:avLst/>
              <a:gdLst/>
              <a:ahLst/>
              <a:cxnLst/>
              <a:rect l="l" t="t" r="r" b="b"/>
              <a:pathLst>
                <a:path w="13429" h="30245" extrusionOk="0">
                  <a:moveTo>
                    <a:pt x="4751" y="0"/>
                  </a:moveTo>
                  <a:cubicBezTo>
                    <a:pt x="2154" y="0"/>
                    <a:pt x="1" y="2122"/>
                    <a:pt x="1" y="4751"/>
                  </a:cubicBezTo>
                  <a:lnTo>
                    <a:pt x="1" y="25494"/>
                  </a:lnTo>
                  <a:cubicBezTo>
                    <a:pt x="1" y="28122"/>
                    <a:pt x="2154" y="30244"/>
                    <a:pt x="4751" y="30244"/>
                  </a:cubicBezTo>
                  <a:lnTo>
                    <a:pt x="13428" y="30244"/>
                  </a:lnTo>
                  <a:lnTo>
                    <a:pt x="13428" y="0"/>
                  </a:lnTo>
                  <a:close/>
                </a:path>
              </a:pathLst>
            </a:custGeom>
            <a:solidFill>
              <a:srgbClr val="9E987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000" dirty="0">
                <a:latin typeface="Fira Sans SemiBold"/>
                <a:ea typeface="Fira Sans SemiBold"/>
                <a:cs typeface="Fira Sans SemiBold"/>
                <a:sym typeface="Fira Sans SemiBold"/>
              </a:endParaRPr>
            </a:p>
          </p:txBody>
        </p:sp>
        <p:sp>
          <p:nvSpPr>
            <p:cNvPr id="431" name="Google Shape;1714;p21">
              <a:extLst>
                <a:ext uri="{FF2B5EF4-FFF2-40B4-BE49-F238E27FC236}">
                  <a16:creationId xmlns:a16="http://schemas.microsoft.com/office/drawing/2014/main" id="{454D38AD-01E2-93A2-571C-5BD8E9C07154}"/>
                </a:ext>
              </a:extLst>
            </p:cNvPr>
            <p:cNvSpPr txBox="1"/>
            <p:nvPr/>
          </p:nvSpPr>
          <p:spPr>
            <a:xfrm>
              <a:off x="2565635" y="3044113"/>
              <a:ext cx="2337346" cy="4087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 dirty="0">
                  <a:latin typeface="Fira Sans Medium"/>
                  <a:sym typeface="Fira Sans Medium"/>
                </a:rPr>
                <a:t>DevOPS</a:t>
              </a:r>
              <a:endParaRPr sz="1200" dirty="0">
                <a:latin typeface="Fira Sans Medium"/>
                <a:sym typeface="Fira Sans Medium"/>
              </a:endParaRPr>
            </a:p>
          </p:txBody>
        </p:sp>
      </p:grpSp>
      <p:grpSp>
        <p:nvGrpSpPr>
          <p:cNvPr id="432" name="Group 431">
            <a:extLst>
              <a:ext uri="{FF2B5EF4-FFF2-40B4-BE49-F238E27FC236}">
                <a16:creationId xmlns:a16="http://schemas.microsoft.com/office/drawing/2014/main" id="{FF1BFF0B-3650-F2A8-86B9-4308A27B861F}"/>
              </a:ext>
            </a:extLst>
          </p:cNvPr>
          <p:cNvGrpSpPr/>
          <p:nvPr/>
        </p:nvGrpSpPr>
        <p:grpSpPr>
          <a:xfrm>
            <a:off x="9632763" y="4419415"/>
            <a:ext cx="1278573" cy="481862"/>
            <a:chOff x="2340847" y="2715370"/>
            <a:chExt cx="2576925" cy="971178"/>
          </a:xfrm>
        </p:grpSpPr>
        <p:sp>
          <p:nvSpPr>
            <p:cNvPr id="434" name="Google Shape;1707;p21">
              <a:extLst>
                <a:ext uri="{FF2B5EF4-FFF2-40B4-BE49-F238E27FC236}">
                  <a16:creationId xmlns:a16="http://schemas.microsoft.com/office/drawing/2014/main" id="{6994EBB9-21EA-7266-09B1-18A441EB0383}"/>
                </a:ext>
              </a:extLst>
            </p:cNvPr>
            <p:cNvSpPr/>
            <p:nvPr/>
          </p:nvSpPr>
          <p:spPr>
            <a:xfrm>
              <a:off x="2340847" y="2715370"/>
              <a:ext cx="406984" cy="971178"/>
            </a:xfrm>
            <a:custGeom>
              <a:avLst/>
              <a:gdLst/>
              <a:ahLst/>
              <a:cxnLst/>
              <a:rect l="l" t="t" r="r" b="b"/>
              <a:pathLst>
                <a:path w="13429" h="30245" extrusionOk="0">
                  <a:moveTo>
                    <a:pt x="4751" y="0"/>
                  </a:moveTo>
                  <a:cubicBezTo>
                    <a:pt x="2154" y="0"/>
                    <a:pt x="1" y="2122"/>
                    <a:pt x="1" y="4751"/>
                  </a:cubicBezTo>
                  <a:lnTo>
                    <a:pt x="1" y="25494"/>
                  </a:lnTo>
                  <a:cubicBezTo>
                    <a:pt x="1" y="28122"/>
                    <a:pt x="2154" y="30244"/>
                    <a:pt x="4751" y="30244"/>
                  </a:cubicBezTo>
                  <a:lnTo>
                    <a:pt x="13428" y="30244"/>
                  </a:lnTo>
                  <a:lnTo>
                    <a:pt x="13428" y="0"/>
                  </a:lnTo>
                  <a:close/>
                </a:path>
              </a:pathLst>
            </a:custGeom>
            <a:solidFill>
              <a:srgbClr val="A4DDC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000" dirty="0">
                <a:latin typeface="Fira Sans SemiBold"/>
                <a:ea typeface="Fira Sans SemiBold"/>
                <a:cs typeface="Fira Sans SemiBold"/>
                <a:sym typeface="Fira Sans SemiBold"/>
              </a:endParaRPr>
            </a:p>
          </p:txBody>
        </p:sp>
        <p:sp>
          <p:nvSpPr>
            <p:cNvPr id="435" name="Google Shape;1714;p21">
              <a:extLst>
                <a:ext uri="{FF2B5EF4-FFF2-40B4-BE49-F238E27FC236}">
                  <a16:creationId xmlns:a16="http://schemas.microsoft.com/office/drawing/2014/main" id="{641A199D-5B94-0E75-2958-BB7A1804300C}"/>
                </a:ext>
              </a:extLst>
            </p:cNvPr>
            <p:cNvSpPr txBox="1"/>
            <p:nvPr/>
          </p:nvSpPr>
          <p:spPr>
            <a:xfrm>
              <a:off x="2580426" y="3016370"/>
              <a:ext cx="2337346" cy="4087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de-DE" sz="1200" dirty="0">
                  <a:latin typeface="Fira Sans Medium"/>
                  <a:sym typeface="Fira Sans Medium"/>
                </a:rPr>
                <a:t>Developer</a:t>
              </a:r>
              <a:endParaRPr sz="1200" dirty="0">
                <a:latin typeface="Fira Sans Medium"/>
                <a:sym typeface="Fira Sans Medium"/>
              </a:endParaRPr>
            </a:p>
          </p:txBody>
        </p:sp>
      </p:grpSp>
      <p:grpSp>
        <p:nvGrpSpPr>
          <p:cNvPr id="436" name="Group 435">
            <a:extLst>
              <a:ext uri="{FF2B5EF4-FFF2-40B4-BE49-F238E27FC236}">
                <a16:creationId xmlns:a16="http://schemas.microsoft.com/office/drawing/2014/main" id="{CB499F81-FFDA-D0B8-4DF9-8AEC22ACE092}"/>
              </a:ext>
            </a:extLst>
          </p:cNvPr>
          <p:cNvGrpSpPr/>
          <p:nvPr/>
        </p:nvGrpSpPr>
        <p:grpSpPr>
          <a:xfrm>
            <a:off x="9632146" y="4996768"/>
            <a:ext cx="1382720" cy="481862"/>
            <a:chOff x="2374300" y="2785569"/>
            <a:chExt cx="2786830" cy="971178"/>
          </a:xfrm>
        </p:grpSpPr>
        <p:sp>
          <p:nvSpPr>
            <p:cNvPr id="438" name="Google Shape;1707;p21">
              <a:extLst>
                <a:ext uri="{FF2B5EF4-FFF2-40B4-BE49-F238E27FC236}">
                  <a16:creationId xmlns:a16="http://schemas.microsoft.com/office/drawing/2014/main" id="{8F8AEF18-A2BB-5F72-C65C-8AB9F57D36FB}"/>
                </a:ext>
              </a:extLst>
            </p:cNvPr>
            <p:cNvSpPr/>
            <p:nvPr/>
          </p:nvSpPr>
          <p:spPr>
            <a:xfrm>
              <a:off x="2374300" y="2785569"/>
              <a:ext cx="406984" cy="971178"/>
            </a:xfrm>
            <a:custGeom>
              <a:avLst/>
              <a:gdLst/>
              <a:ahLst/>
              <a:cxnLst/>
              <a:rect l="l" t="t" r="r" b="b"/>
              <a:pathLst>
                <a:path w="13429" h="30245" extrusionOk="0">
                  <a:moveTo>
                    <a:pt x="4751" y="0"/>
                  </a:moveTo>
                  <a:cubicBezTo>
                    <a:pt x="2154" y="0"/>
                    <a:pt x="1" y="2122"/>
                    <a:pt x="1" y="4751"/>
                  </a:cubicBezTo>
                  <a:lnTo>
                    <a:pt x="1" y="25494"/>
                  </a:lnTo>
                  <a:cubicBezTo>
                    <a:pt x="1" y="28122"/>
                    <a:pt x="2154" y="30244"/>
                    <a:pt x="4751" y="30244"/>
                  </a:cubicBezTo>
                  <a:lnTo>
                    <a:pt x="13428" y="30244"/>
                  </a:lnTo>
                  <a:lnTo>
                    <a:pt x="13428" y="0"/>
                  </a:lnTo>
                  <a:close/>
                </a:path>
              </a:pathLst>
            </a:custGeom>
            <a:solidFill>
              <a:srgbClr val="A9DDF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/>
              <a:endParaRPr sz="3000" dirty="0">
                <a:solidFill>
                  <a:schemeClr val="bg1"/>
                </a:solidFill>
                <a:latin typeface="Fira Sans SemiBold"/>
                <a:sym typeface="Fira Sans SemiBold"/>
              </a:endParaRPr>
            </a:p>
          </p:txBody>
        </p:sp>
        <p:sp>
          <p:nvSpPr>
            <p:cNvPr id="439" name="Google Shape;1714;p21">
              <a:extLst>
                <a:ext uri="{FF2B5EF4-FFF2-40B4-BE49-F238E27FC236}">
                  <a16:creationId xmlns:a16="http://schemas.microsoft.com/office/drawing/2014/main" id="{36A8A557-77A7-A490-B3EB-705CC8FAC7AC}"/>
                </a:ext>
              </a:extLst>
            </p:cNvPr>
            <p:cNvSpPr txBox="1"/>
            <p:nvPr/>
          </p:nvSpPr>
          <p:spPr>
            <a:xfrm>
              <a:off x="2823784" y="3039784"/>
              <a:ext cx="2337346" cy="4087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>
                <a:defRPr lang="de-DE"/>
              </a:defPPr>
              <a:lvl1pPr algn="ctr">
                <a:defRPr sz="3000">
                  <a:solidFill>
                    <a:schemeClr val="bg1"/>
                  </a:solidFill>
                  <a:latin typeface="Fira Sans SemiBold"/>
                </a:defRPr>
              </a:lvl1pPr>
            </a:lstStyle>
            <a:p>
              <a:r>
                <a:rPr lang="de-DE" sz="1200" dirty="0">
                  <a:solidFill>
                    <a:schemeClr val="tx1"/>
                  </a:solidFill>
                  <a:latin typeface="Fira Sans Medium"/>
                  <a:sym typeface="Fira Sans Medium"/>
                </a:rPr>
                <a:t>LLM Engineer</a:t>
              </a:r>
              <a:endParaRPr sz="1200" dirty="0">
                <a:solidFill>
                  <a:schemeClr val="tx1"/>
                </a:solidFill>
                <a:latin typeface="Fira Sans Medium"/>
                <a:sym typeface="Fira Sans Medium"/>
              </a:endParaRPr>
            </a:p>
          </p:txBody>
        </p:sp>
      </p:grpSp>
      <p:grpSp>
        <p:nvGrpSpPr>
          <p:cNvPr id="440" name="Group 439">
            <a:extLst>
              <a:ext uri="{FF2B5EF4-FFF2-40B4-BE49-F238E27FC236}">
                <a16:creationId xmlns:a16="http://schemas.microsoft.com/office/drawing/2014/main" id="{E8C89CC1-158F-4DAF-417D-9A6E48D8FD02}"/>
              </a:ext>
            </a:extLst>
          </p:cNvPr>
          <p:cNvGrpSpPr/>
          <p:nvPr/>
        </p:nvGrpSpPr>
        <p:grpSpPr>
          <a:xfrm>
            <a:off x="9632146" y="5567364"/>
            <a:ext cx="1818587" cy="481862"/>
            <a:chOff x="2374300" y="2785569"/>
            <a:chExt cx="3665306" cy="971178"/>
          </a:xfrm>
        </p:grpSpPr>
        <p:sp>
          <p:nvSpPr>
            <p:cNvPr id="442" name="Google Shape;1707;p21">
              <a:extLst>
                <a:ext uri="{FF2B5EF4-FFF2-40B4-BE49-F238E27FC236}">
                  <a16:creationId xmlns:a16="http://schemas.microsoft.com/office/drawing/2014/main" id="{A4E63E6E-B15E-663C-8922-7177988C6978}"/>
                </a:ext>
              </a:extLst>
            </p:cNvPr>
            <p:cNvSpPr/>
            <p:nvPr/>
          </p:nvSpPr>
          <p:spPr>
            <a:xfrm>
              <a:off x="2374300" y="2785569"/>
              <a:ext cx="406984" cy="971178"/>
            </a:xfrm>
            <a:custGeom>
              <a:avLst/>
              <a:gdLst/>
              <a:ahLst/>
              <a:cxnLst/>
              <a:rect l="l" t="t" r="r" b="b"/>
              <a:pathLst>
                <a:path w="13429" h="30245" extrusionOk="0">
                  <a:moveTo>
                    <a:pt x="4751" y="0"/>
                  </a:moveTo>
                  <a:cubicBezTo>
                    <a:pt x="2154" y="0"/>
                    <a:pt x="1" y="2122"/>
                    <a:pt x="1" y="4751"/>
                  </a:cubicBezTo>
                  <a:lnTo>
                    <a:pt x="1" y="25494"/>
                  </a:lnTo>
                  <a:cubicBezTo>
                    <a:pt x="1" y="28122"/>
                    <a:pt x="2154" y="30244"/>
                    <a:pt x="4751" y="30244"/>
                  </a:cubicBezTo>
                  <a:lnTo>
                    <a:pt x="13428" y="30244"/>
                  </a:lnTo>
                  <a:lnTo>
                    <a:pt x="13428" y="0"/>
                  </a:lnTo>
                  <a:close/>
                </a:path>
              </a:pathLst>
            </a:custGeom>
            <a:solidFill>
              <a:srgbClr val="DAE9B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000" dirty="0">
                <a:latin typeface="Fira Sans SemiBold"/>
                <a:ea typeface="Fira Sans SemiBold"/>
                <a:cs typeface="Fira Sans SemiBold"/>
                <a:sym typeface="Fira Sans SemiBold"/>
              </a:endParaRPr>
            </a:p>
          </p:txBody>
        </p:sp>
        <p:sp>
          <p:nvSpPr>
            <p:cNvPr id="443" name="Google Shape;1714;p21">
              <a:extLst>
                <a:ext uri="{FF2B5EF4-FFF2-40B4-BE49-F238E27FC236}">
                  <a16:creationId xmlns:a16="http://schemas.microsoft.com/office/drawing/2014/main" id="{29ABC320-D703-D47D-42D4-714256314C53}"/>
                </a:ext>
              </a:extLst>
            </p:cNvPr>
            <p:cNvSpPr txBox="1"/>
            <p:nvPr/>
          </p:nvSpPr>
          <p:spPr>
            <a:xfrm>
              <a:off x="2781284" y="3059985"/>
              <a:ext cx="3258322" cy="4087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/>
              <a:r>
                <a:rPr lang="en" sz="1200" dirty="0">
                  <a:latin typeface="Fira Sans Medium"/>
                  <a:sym typeface="Fira Sans Medium"/>
                </a:rPr>
                <a:t>AI Business Analyst</a:t>
              </a:r>
              <a:endParaRPr sz="1200" dirty="0">
                <a:latin typeface="Fira Sans Medium"/>
                <a:sym typeface="Fira Sans Medium"/>
              </a:endParaRPr>
            </a:p>
          </p:txBody>
        </p:sp>
      </p:grp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DF4747B7-F261-C384-7B9D-A770F7BF9099}"/>
              </a:ext>
            </a:extLst>
          </p:cNvPr>
          <p:cNvCxnSpPr>
            <a:cxnSpLocks/>
          </p:cNvCxnSpPr>
          <p:nvPr/>
        </p:nvCxnSpPr>
        <p:spPr>
          <a:xfrm flipV="1">
            <a:off x="2751440" y="5848953"/>
            <a:ext cx="0" cy="801878"/>
          </a:xfrm>
          <a:prstGeom prst="straightConnector1">
            <a:avLst/>
          </a:prstGeom>
          <a:ln w="25400">
            <a:solidFill>
              <a:schemeClr val="tx1">
                <a:lumMod val="7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" name="Group 50">
            <a:extLst>
              <a:ext uri="{FF2B5EF4-FFF2-40B4-BE49-F238E27FC236}">
                <a16:creationId xmlns:a16="http://schemas.microsoft.com/office/drawing/2014/main" id="{E46085B1-D388-8F63-296D-EDA6443F53CE}"/>
              </a:ext>
            </a:extLst>
          </p:cNvPr>
          <p:cNvGrpSpPr/>
          <p:nvPr/>
        </p:nvGrpSpPr>
        <p:grpSpPr>
          <a:xfrm>
            <a:off x="9632146" y="6106716"/>
            <a:ext cx="1719339" cy="481862"/>
            <a:chOff x="2374300" y="2785569"/>
            <a:chExt cx="3465274" cy="971178"/>
          </a:xfrm>
        </p:grpSpPr>
        <p:sp>
          <p:nvSpPr>
            <p:cNvPr id="68" name="Google Shape;1707;p21">
              <a:extLst>
                <a:ext uri="{FF2B5EF4-FFF2-40B4-BE49-F238E27FC236}">
                  <a16:creationId xmlns:a16="http://schemas.microsoft.com/office/drawing/2014/main" id="{CA4684F6-3E50-321F-3EAF-12A361758BBB}"/>
                </a:ext>
              </a:extLst>
            </p:cNvPr>
            <p:cNvSpPr/>
            <p:nvPr/>
          </p:nvSpPr>
          <p:spPr>
            <a:xfrm>
              <a:off x="2374300" y="2785569"/>
              <a:ext cx="406984" cy="971178"/>
            </a:xfrm>
            <a:custGeom>
              <a:avLst/>
              <a:gdLst/>
              <a:ahLst/>
              <a:cxnLst/>
              <a:rect l="l" t="t" r="r" b="b"/>
              <a:pathLst>
                <a:path w="13429" h="30245" extrusionOk="0">
                  <a:moveTo>
                    <a:pt x="4751" y="0"/>
                  </a:moveTo>
                  <a:cubicBezTo>
                    <a:pt x="2154" y="0"/>
                    <a:pt x="1" y="2122"/>
                    <a:pt x="1" y="4751"/>
                  </a:cubicBezTo>
                  <a:lnTo>
                    <a:pt x="1" y="25494"/>
                  </a:lnTo>
                  <a:cubicBezTo>
                    <a:pt x="1" y="28122"/>
                    <a:pt x="2154" y="30244"/>
                    <a:pt x="4751" y="30244"/>
                  </a:cubicBezTo>
                  <a:lnTo>
                    <a:pt x="13428" y="30244"/>
                  </a:lnTo>
                  <a:lnTo>
                    <a:pt x="13428" y="0"/>
                  </a:lnTo>
                  <a:close/>
                </a:path>
              </a:pathLst>
            </a:custGeom>
            <a:solidFill>
              <a:srgbClr val="F2A36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000" dirty="0">
                <a:latin typeface="Fira Sans SemiBold"/>
                <a:ea typeface="Fira Sans SemiBold"/>
                <a:cs typeface="Fira Sans SemiBold"/>
                <a:sym typeface="Fira Sans SemiBold"/>
              </a:endParaRPr>
            </a:p>
          </p:txBody>
        </p:sp>
        <p:sp>
          <p:nvSpPr>
            <p:cNvPr id="69" name="Google Shape;1714;p21">
              <a:extLst>
                <a:ext uri="{FF2B5EF4-FFF2-40B4-BE49-F238E27FC236}">
                  <a16:creationId xmlns:a16="http://schemas.microsoft.com/office/drawing/2014/main" id="{07933303-31C5-9110-B0FB-6B6E1D89F918}"/>
                </a:ext>
              </a:extLst>
            </p:cNvPr>
            <p:cNvSpPr txBox="1"/>
            <p:nvPr/>
          </p:nvSpPr>
          <p:spPr>
            <a:xfrm>
              <a:off x="2581252" y="3038512"/>
              <a:ext cx="3258322" cy="4087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/>
              <a:r>
                <a:rPr lang="en" sz="1200" dirty="0">
                  <a:latin typeface="Fira Sans Medium"/>
                  <a:sym typeface="Fira Sans Medium"/>
                </a:rPr>
                <a:t>AI Business User</a:t>
              </a:r>
              <a:endParaRPr sz="1200" dirty="0">
                <a:latin typeface="Fira Sans Medium"/>
                <a:sym typeface="Fira Sans Medium"/>
              </a:endParaRPr>
            </a:p>
          </p:txBody>
        </p:sp>
      </p:grpSp>
      <p:sp>
        <p:nvSpPr>
          <p:cNvPr id="70" name="Google Shape;1707;p21">
            <a:extLst>
              <a:ext uri="{FF2B5EF4-FFF2-40B4-BE49-F238E27FC236}">
                <a16:creationId xmlns:a16="http://schemas.microsoft.com/office/drawing/2014/main" id="{1DE0C33D-A33C-B11C-9471-DF83E287B6B5}"/>
              </a:ext>
            </a:extLst>
          </p:cNvPr>
          <p:cNvSpPr/>
          <p:nvPr/>
        </p:nvSpPr>
        <p:spPr>
          <a:xfrm>
            <a:off x="10467505" y="3168906"/>
            <a:ext cx="201930" cy="487245"/>
          </a:xfrm>
          <a:custGeom>
            <a:avLst/>
            <a:gdLst/>
            <a:ahLst/>
            <a:cxnLst/>
            <a:rect l="l" t="t" r="r" b="b"/>
            <a:pathLst>
              <a:path w="13429" h="30245" extrusionOk="0">
                <a:moveTo>
                  <a:pt x="4751" y="0"/>
                </a:moveTo>
                <a:cubicBezTo>
                  <a:pt x="2154" y="0"/>
                  <a:pt x="1" y="2122"/>
                  <a:pt x="1" y="4751"/>
                </a:cubicBezTo>
                <a:lnTo>
                  <a:pt x="1" y="25494"/>
                </a:lnTo>
                <a:cubicBezTo>
                  <a:pt x="1" y="28122"/>
                  <a:pt x="2154" y="30244"/>
                  <a:pt x="4751" y="30244"/>
                </a:cubicBezTo>
                <a:lnTo>
                  <a:pt x="13428" y="30244"/>
                </a:lnTo>
                <a:lnTo>
                  <a:pt x="13428" y="0"/>
                </a:lnTo>
                <a:close/>
              </a:path>
            </a:pathLst>
          </a:custGeom>
          <a:solidFill>
            <a:srgbClr val="F2A365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000" dirty="0">
              <a:latin typeface="Fira Sans SemiBold"/>
              <a:ea typeface="Fira Sans SemiBold"/>
              <a:cs typeface="Fira Sans SemiBold"/>
              <a:sym typeface="Fira Sans SemiBold"/>
            </a:endParaRPr>
          </a:p>
        </p:txBody>
      </p:sp>
      <p:sp>
        <p:nvSpPr>
          <p:cNvPr id="71" name="Google Shape;1707;p21">
            <a:extLst>
              <a:ext uri="{FF2B5EF4-FFF2-40B4-BE49-F238E27FC236}">
                <a16:creationId xmlns:a16="http://schemas.microsoft.com/office/drawing/2014/main" id="{4DE3DF9B-1671-FD86-35FE-550BD412BF29}"/>
              </a:ext>
            </a:extLst>
          </p:cNvPr>
          <p:cNvSpPr/>
          <p:nvPr/>
        </p:nvSpPr>
        <p:spPr>
          <a:xfrm>
            <a:off x="6895661" y="1549895"/>
            <a:ext cx="201930" cy="481862"/>
          </a:xfrm>
          <a:custGeom>
            <a:avLst/>
            <a:gdLst/>
            <a:ahLst/>
            <a:cxnLst/>
            <a:rect l="l" t="t" r="r" b="b"/>
            <a:pathLst>
              <a:path w="13429" h="30245" extrusionOk="0">
                <a:moveTo>
                  <a:pt x="4751" y="0"/>
                </a:moveTo>
                <a:cubicBezTo>
                  <a:pt x="2154" y="0"/>
                  <a:pt x="1" y="2122"/>
                  <a:pt x="1" y="4751"/>
                </a:cubicBezTo>
                <a:lnTo>
                  <a:pt x="1" y="25494"/>
                </a:lnTo>
                <a:cubicBezTo>
                  <a:pt x="1" y="28122"/>
                  <a:pt x="2154" y="30244"/>
                  <a:pt x="4751" y="30244"/>
                </a:cubicBezTo>
                <a:lnTo>
                  <a:pt x="13428" y="30244"/>
                </a:lnTo>
                <a:lnTo>
                  <a:pt x="13428" y="0"/>
                </a:lnTo>
                <a:close/>
              </a:path>
            </a:pathLst>
          </a:custGeom>
          <a:solidFill>
            <a:srgbClr val="F2A365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000" dirty="0">
              <a:latin typeface="Fira Sans SemiBold"/>
              <a:ea typeface="Fira Sans SemiBold"/>
              <a:cs typeface="Fira Sans SemiBold"/>
              <a:sym typeface="Fira Sans SemiBold"/>
            </a:endParaRPr>
          </a:p>
        </p:txBody>
      </p:sp>
      <p:sp>
        <p:nvSpPr>
          <p:cNvPr id="72" name="Google Shape;1707;p21">
            <a:extLst>
              <a:ext uri="{FF2B5EF4-FFF2-40B4-BE49-F238E27FC236}">
                <a16:creationId xmlns:a16="http://schemas.microsoft.com/office/drawing/2014/main" id="{8425ED41-16A5-2D3C-ADFE-1CEA6C3C5318}"/>
              </a:ext>
            </a:extLst>
          </p:cNvPr>
          <p:cNvSpPr/>
          <p:nvPr/>
        </p:nvSpPr>
        <p:spPr>
          <a:xfrm rot="10800000">
            <a:off x="4343447" y="5877787"/>
            <a:ext cx="209883" cy="475517"/>
          </a:xfrm>
          <a:custGeom>
            <a:avLst/>
            <a:gdLst/>
            <a:ahLst/>
            <a:cxnLst/>
            <a:rect l="l" t="t" r="r" b="b"/>
            <a:pathLst>
              <a:path w="13429" h="30245" extrusionOk="0">
                <a:moveTo>
                  <a:pt x="4751" y="0"/>
                </a:moveTo>
                <a:cubicBezTo>
                  <a:pt x="2154" y="0"/>
                  <a:pt x="1" y="2122"/>
                  <a:pt x="1" y="4751"/>
                </a:cubicBezTo>
                <a:lnTo>
                  <a:pt x="1" y="25494"/>
                </a:lnTo>
                <a:cubicBezTo>
                  <a:pt x="1" y="28122"/>
                  <a:pt x="2154" y="30244"/>
                  <a:pt x="4751" y="30244"/>
                </a:cubicBezTo>
                <a:lnTo>
                  <a:pt x="13428" y="30244"/>
                </a:lnTo>
                <a:lnTo>
                  <a:pt x="13428" y="0"/>
                </a:lnTo>
                <a:close/>
              </a:path>
            </a:pathLst>
          </a:custGeom>
          <a:solidFill>
            <a:srgbClr val="F2A365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000" dirty="0">
              <a:latin typeface="Fira Sans SemiBold"/>
              <a:ea typeface="Fira Sans SemiBold"/>
              <a:cs typeface="Fira Sans SemiBold"/>
              <a:sym typeface="Fira Sans SemiBold"/>
            </a:endParaRPr>
          </a:p>
        </p:txBody>
      </p:sp>
      <p:sp>
        <p:nvSpPr>
          <p:cNvPr id="73" name="Google Shape;1707;p21">
            <a:extLst>
              <a:ext uri="{FF2B5EF4-FFF2-40B4-BE49-F238E27FC236}">
                <a16:creationId xmlns:a16="http://schemas.microsoft.com/office/drawing/2014/main" id="{05CB021A-9455-5DC2-DE9F-56EC94790DB5}"/>
              </a:ext>
            </a:extLst>
          </p:cNvPr>
          <p:cNvSpPr/>
          <p:nvPr/>
        </p:nvSpPr>
        <p:spPr>
          <a:xfrm rot="10800000">
            <a:off x="2288667" y="3209912"/>
            <a:ext cx="209883" cy="481011"/>
          </a:xfrm>
          <a:custGeom>
            <a:avLst/>
            <a:gdLst/>
            <a:ahLst/>
            <a:cxnLst/>
            <a:rect l="l" t="t" r="r" b="b"/>
            <a:pathLst>
              <a:path w="13429" h="30245" extrusionOk="0">
                <a:moveTo>
                  <a:pt x="4751" y="0"/>
                </a:moveTo>
                <a:cubicBezTo>
                  <a:pt x="2154" y="0"/>
                  <a:pt x="1" y="2122"/>
                  <a:pt x="1" y="4751"/>
                </a:cubicBezTo>
                <a:lnTo>
                  <a:pt x="1" y="25494"/>
                </a:lnTo>
                <a:cubicBezTo>
                  <a:pt x="1" y="28122"/>
                  <a:pt x="2154" y="30244"/>
                  <a:pt x="4751" y="30244"/>
                </a:cubicBezTo>
                <a:lnTo>
                  <a:pt x="13428" y="30244"/>
                </a:lnTo>
                <a:lnTo>
                  <a:pt x="13428" y="0"/>
                </a:lnTo>
                <a:close/>
              </a:path>
            </a:pathLst>
          </a:custGeom>
          <a:solidFill>
            <a:srgbClr val="F2A365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000" dirty="0">
              <a:latin typeface="Fira Sans SemiBold"/>
              <a:ea typeface="Fira Sans SemiBold"/>
              <a:cs typeface="Fira Sans SemiBold"/>
              <a:sym typeface="Fira Sans SemiBold"/>
            </a:endParaRPr>
          </a:p>
        </p:txBody>
      </p:sp>
      <p:sp>
        <p:nvSpPr>
          <p:cNvPr id="74" name="Google Shape;1707;p21">
            <a:extLst>
              <a:ext uri="{FF2B5EF4-FFF2-40B4-BE49-F238E27FC236}">
                <a16:creationId xmlns:a16="http://schemas.microsoft.com/office/drawing/2014/main" id="{BE5346FB-714B-5E12-5275-B0B1A915DF3B}"/>
              </a:ext>
            </a:extLst>
          </p:cNvPr>
          <p:cNvSpPr/>
          <p:nvPr/>
        </p:nvSpPr>
        <p:spPr>
          <a:xfrm rot="10800000">
            <a:off x="4719189" y="773009"/>
            <a:ext cx="209883" cy="478434"/>
          </a:xfrm>
          <a:custGeom>
            <a:avLst/>
            <a:gdLst/>
            <a:ahLst/>
            <a:cxnLst/>
            <a:rect l="l" t="t" r="r" b="b"/>
            <a:pathLst>
              <a:path w="13429" h="30245" extrusionOk="0">
                <a:moveTo>
                  <a:pt x="4751" y="0"/>
                </a:moveTo>
                <a:cubicBezTo>
                  <a:pt x="2154" y="0"/>
                  <a:pt x="1" y="2122"/>
                  <a:pt x="1" y="4751"/>
                </a:cubicBezTo>
                <a:lnTo>
                  <a:pt x="1" y="25494"/>
                </a:lnTo>
                <a:cubicBezTo>
                  <a:pt x="1" y="28122"/>
                  <a:pt x="2154" y="30244"/>
                  <a:pt x="4751" y="30244"/>
                </a:cubicBezTo>
                <a:lnTo>
                  <a:pt x="13428" y="30244"/>
                </a:lnTo>
                <a:lnTo>
                  <a:pt x="13428" y="0"/>
                </a:lnTo>
                <a:close/>
              </a:path>
            </a:pathLst>
          </a:custGeom>
          <a:solidFill>
            <a:srgbClr val="F2A365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000" dirty="0">
              <a:latin typeface="Fira Sans SemiBold"/>
              <a:ea typeface="Fira Sans SemiBold"/>
              <a:cs typeface="Fira Sans SemiBold"/>
              <a:sym typeface="Fira Sans SemiBold"/>
            </a:endParaRPr>
          </a:p>
        </p:txBody>
      </p:sp>
      <p:sp>
        <p:nvSpPr>
          <p:cNvPr id="75" name="Google Shape;1707;p21">
            <a:extLst>
              <a:ext uri="{FF2B5EF4-FFF2-40B4-BE49-F238E27FC236}">
                <a16:creationId xmlns:a16="http://schemas.microsoft.com/office/drawing/2014/main" id="{37A578EB-3FBF-214C-53ED-18F5A14DB1DB}"/>
              </a:ext>
            </a:extLst>
          </p:cNvPr>
          <p:cNvSpPr/>
          <p:nvPr/>
        </p:nvSpPr>
        <p:spPr>
          <a:xfrm rot="10800000">
            <a:off x="2281356" y="3915191"/>
            <a:ext cx="209883" cy="477965"/>
          </a:xfrm>
          <a:custGeom>
            <a:avLst/>
            <a:gdLst/>
            <a:ahLst/>
            <a:cxnLst/>
            <a:rect l="l" t="t" r="r" b="b"/>
            <a:pathLst>
              <a:path w="13429" h="30245" extrusionOk="0">
                <a:moveTo>
                  <a:pt x="4751" y="0"/>
                </a:moveTo>
                <a:cubicBezTo>
                  <a:pt x="2154" y="0"/>
                  <a:pt x="1" y="2122"/>
                  <a:pt x="1" y="4751"/>
                </a:cubicBezTo>
                <a:lnTo>
                  <a:pt x="1" y="25494"/>
                </a:lnTo>
                <a:cubicBezTo>
                  <a:pt x="1" y="28122"/>
                  <a:pt x="2154" y="30244"/>
                  <a:pt x="4751" y="30244"/>
                </a:cubicBezTo>
                <a:lnTo>
                  <a:pt x="13428" y="30244"/>
                </a:lnTo>
                <a:lnTo>
                  <a:pt x="13428" y="0"/>
                </a:lnTo>
                <a:close/>
              </a:path>
            </a:pathLst>
          </a:custGeom>
          <a:solidFill>
            <a:srgbClr val="F2A365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000" dirty="0">
              <a:latin typeface="Fira Sans SemiBold"/>
              <a:ea typeface="Fira Sans SemiBold"/>
              <a:cs typeface="Fira Sans SemiBold"/>
              <a:sym typeface="Fira Sans SemiBold"/>
            </a:endParaRPr>
          </a:p>
        </p:txBody>
      </p:sp>
      <p:sp>
        <p:nvSpPr>
          <p:cNvPr id="76" name="Google Shape;1707;p21">
            <a:extLst>
              <a:ext uri="{FF2B5EF4-FFF2-40B4-BE49-F238E27FC236}">
                <a16:creationId xmlns:a16="http://schemas.microsoft.com/office/drawing/2014/main" id="{446563AF-BAF1-BCB9-4350-246CF478479C}"/>
              </a:ext>
            </a:extLst>
          </p:cNvPr>
          <p:cNvSpPr/>
          <p:nvPr/>
        </p:nvSpPr>
        <p:spPr>
          <a:xfrm rot="10800000">
            <a:off x="2275352" y="4670154"/>
            <a:ext cx="209883" cy="480700"/>
          </a:xfrm>
          <a:custGeom>
            <a:avLst/>
            <a:gdLst/>
            <a:ahLst/>
            <a:cxnLst/>
            <a:rect l="l" t="t" r="r" b="b"/>
            <a:pathLst>
              <a:path w="13429" h="30245" extrusionOk="0">
                <a:moveTo>
                  <a:pt x="4751" y="0"/>
                </a:moveTo>
                <a:cubicBezTo>
                  <a:pt x="2154" y="0"/>
                  <a:pt x="1" y="2122"/>
                  <a:pt x="1" y="4751"/>
                </a:cubicBezTo>
                <a:lnTo>
                  <a:pt x="1" y="25494"/>
                </a:lnTo>
                <a:cubicBezTo>
                  <a:pt x="1" y="28122"/>
                  <a:pt x="2154" y="30244"/>
                  <a:pt x="4751" y="30244"/>
                </a:cubicBezTo>
                <a:lnTo>
                  <a:pt x="13428" y="30244"/>
                </a:lnTo>
                <a:lnTo>
                  <a:pt x="13428" y="0"/>
                </a:lnTo>
                <a:close/>
              </a:path>
            </a:pathLst>
          </a:custGeom>
          <a:solidFill>
            <a:srgbClr val="F2A365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000" dirty="0">
              <a:latin typeface="Fira Sans SemiBold"/>
              <a:ea typeface="Fira Sans SemiBold"/>
              <a:cs typeface="Fira Sans SemiBold"/>
              <a:sym typeface="Fira Sans SemiBold"/>
            </a:endParaRPr>
          </a:p>
        </p:txBody>
      </p:sp>
      <p:sp>
        <p:nvSpPr>
          <p:cNvPr id="77" name="Google Shape;1707;p21">
            <a:extLst>
              <a:ext uri="{FF2B5EF4-FFF2-40B4-BE49-F238E27FC236}">
                <a16:creationId xmlns:a16="http://schemas.microsoft.com/office/drawing/2014/main" id="{B899F313-51BC-5E86-C0AC-876BBEDCD3DA}"/>
              </a:ext>
            </a:extLst>
          </p:cNvPr>
          <p:cNvSpPr/>
          <p:nvPr/>
        </p:nvSpPr>
        <p:spPr>
          <a:xfrm rot="10800000">
            <a:off x="7943453" y="5848950"/>
            <a:ext cx="216509" cy="481861"/>
          </a:xfrm>
          <a:custGeom>
            <a:avLst/>
            <a:gdLst/>
            <a:ahLst/>
            <a:cxnLst/>
            <a:rect l="l" t="t" r="r" b="b"/>
            <a:pathLst>
              <a:path w="13429" h="30245" extrusionOk="0">
                <a:moveTo>
                  <a:pt x="4751" y="0"/>
                </a:moveTo>
                <a:cubicBezTo>
                  <a:pt x="2154" y="0"/>
                  <a:pt x="1" y="2122"/>
                  <a:pt x="1" y="4751"/>
                </a:cubicBezTo>
                <a:lnTo>
                  <a:pt x="1" y="25494"/>
                </a:lnTo>
                <a:cubicBezTo>
                  <a:pt x="1" y="28122"/>
                  <a:pt x="2154" y="30244"/>
                  <a:pt x="4751" y="30244"/>
                </a:cubicBezTo>
                <a:lnTo>
                  <a:pt x="13428" y="30244"/>
                </a:lnTo>
                <a:lnTo>
                  <a:pt x="13428" y="0"/>
                </a:lnTo>
                <a:close/>
              </a:path>
            </a:pathLst>
          </a:custGeom>
          <a:solidFill>
            <a:srgbClr val="F2A365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000" dirty="0">
              <a:latin typeface="Fira Sans SemiBold"/>
              <a:ea typeface="Fira Sans SemiBold"/>
              <a:cs typeface="Fira Sans SemiBold"/>
              <a:sym typeface="Fira Sans SemiBold"/>
            </a:endParaRPr>
          </a:p>
        </p:txBody>
      </p:sp>
      <p:sp>
        <p:nvSpPr>
          <p:cNvPr id="78" name="Slide Number Placeholder 1">
            <a:extLst>
              <a:ext uri="{FF2B5EF4-FFF2-40B4-BE49-F238E27FC236}">
                <a16:creationId xmlns:a16="http://schemas.microsoft.com/office/drawing/2014/main" id="{A2628615-DA22-BA42-48A0-010126D752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BBE0597C-028E-473F-BF50-BBB8B8A24EC3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98682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83" name="Connector: Elbow 682">
            <a:extLst>
              <a:ext uri="{FF2B5EF4-FFF2-40B4-BE49-F238E27FC236}">
                <a16:creationId xmlns:a16="http://schemas.microsoft.com/office/drawing/2014/main" id="{034E6D9E-6F34-D6D0-21A2-4864CA228EF1}"/>
              </a:ext>
            </a:extLst>
          </p:cNvPr>
          <p:cNvCxnSpPr>
            <a:cxnSpLocks/>
          </p:cNvCxnSpPr>
          <p:nvPr/>
        </p:nvCxnSpPr>
        <p:spPr>
          <a:xfrm>
            <a:off x="6274301" y="2892715"/>
            <a:ext cx="1967756" cy="853685"/>
          </a:xfrm>
          <a:prstGeom prst="bentConnector3">
            <a:avLst>
              <a:gd name="adj1" fmla="val 142"/>
            </a:avLst>
          </a:prstGeom>
          <a:ln w="63500">
            <a:solidFill>
              <a:srgbClr val="F2A3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4" name="Straight Connector 673">
            <a:extLst>
              <a:ext uri="{FF2B5EF4-FFF2-40B4-BE49-F238E27FC236}">
                <a16:creationId xmlns:a16="http://schemas.microsoft.com/office/drawing/2014/main" id="{F05E567B-B5A8-0180-BFA3-F6CB3A8779E1}"/>
              </a:ext>
            </a:extLst>
          </p:cNvPr>
          <p:cNvCxnSpPr>
            <a:cxnSpLocks/>
          </p:cNvCxnSpPr>
          <p:nvPr/>
        </p:nvCxnSpPr>
        <p:spPr>
          <a:xfrm>
            <a:off x="11166845" y="4376041"/>
            <a:ext cx="12066" cy="1980309"/>
          </a:xfrm>
          <a:prstGeom prst="line">
            <a:avLst/>
          </a:prstGeom>
          <a:ln w="63500">
            <a:solidFill>
              <a:srgbClr val="F2A3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3" name="Connector: Elbow 672">
            <a:extLst>
              <a:ext uri="{FF2B5EF4-FFF2-40B4-BE49-F238E27FC236}">
                <a16:creationId xmlns:a16="http://schemas.microsoft.com/office/drawing/2014/main" id="{306E691B-2C6F-068C-4AC8-037C0A6CA8C8}"/>
              </a:ext>
            </a:extLst>
          </p:cNvPr>
          <p:cNvCxnSpPr>
            <a:cxnSpLocks/>
          </p:cNvCxnSpPr>
          <p:nvPr/>
        </p:nvCxnSpPr>
        <p:spPr>
          <a:xfrm>
            <a:off x="8230965" y="5403501"/>
            <a:ext cx="2929236" cy="920400"/>
          </a:xfrm>
          <a:prstGeom prst="bentConnector3">
            <a:avLst>
              <a:gd name="adj1" fmla="val -401"/>
            </a:avLst>
          </a:prstGeom>
          <a:ln w="63500">
            <a:solidFill>
              <a:srgbClr val="F2A3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1" name="Straight Connector 670">
            <a:extLst>
              <a:ext uri="{FF2B5EF4-FFF2-40B4-BE49-F238E27FC236}">
                <a16:creationId xmlns:a16="http://schemas.microsoft.com/office/drawing/2014/main" id="{B2E60431-B545-40FD-5287-F73FFA74263C}"/>
              </a:ext>
            </a:extLst>
          </p:cNvPr>
          <p:cNvCxnSpPr>
            <a:cxnSpLocks/>
          </p:cNvCxnSpPr>
          <p:nvPr/>
        </p:nvCxnSpPr>
        <p:spPr>
          <a:xfrm>
            <a:off x="8217643" y="3789629"/>
            <a:ext cx="14992" cy="1331754"/>
          </a:xfrm>
          <a:prstGeom prst="line">
            <a:avLst/>
          </a:prstGeom>
          <a:ln w="63500">
            <a:solidFill>
              <a:srgbClr val="F2A3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8" name="Connector: Elbow 617">
            <a:extLst>
              <a:ext uri="{FF2B5EF4-FFF2-40B4-BE49-F238E27FC236}">
                <a16:creationId xmlns:a16="http://schemas.microsoft.com/office/drawing/2014/main" id="{51DA9D79-B879-C070-1D20-DFDB256A0236}"/>
              </a:ext>
            </a:extLst>
          </p:cNvPr>
          <p:cNvCxnSpPr/>
          <p:nvPr/>
        </p:nvCxnSpPr>
        <p:spPr>
          <a:xfrm>
            <a:off x="1584119" y="5403501"/>
            <a:ext cx="2940040" cy="881412"/>
          </a:xfrm>
          <a:prstGeom prst="bentConnector3">
            <a:avLst>
              <a:gd name="adj1" fmla="val 101"/>
            </a:avLst>
          </a:prstGeom>
          <a:ln w="63500">
            <a:solidFill>
              <a:srgbClr val="F2A3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2" name="Straight Connector 621">
            <a:extLst>
              <a:ext uri="{FF2B5EF4-FFF2-40B4-BE49-F238E27FC236}">
                <a16:creationId xmlns:a16="http://schemas.microsoft.com/office/drawing/2014/main" id="{1DD0FA6F-87D8-0955-C848-F16196214284}"/>
              </a:ext>
            </a:extLst>
          </p:cNvPr>
          <p:cNvCxnSpPr>
            <a:cxnSpLocks/>
          </p:cNvCxnSpPr>
          <p:nvPr/>
        </p:nvCxnSpPr>
        <p:spPr>
          <a:xfrm flipH="1">
            <a:off x="4493419" y="1256299"/>
            <a:ext cx="53245" cy="5062163"/>
          </a:xfrm>
          <a:prstGeom prst="line">
            <a:avLst/>
          </a:prstGeom>
          <a:ln w="63500">
            <a:solidFill>
              <a:srgbClr val="F2A3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5" name="Connector: Elbow 624">
            <a:extLst>
              <a:ext uri="{FF2B5EF4-FFF2-40B4-BE49-F238E27FC236}">
                <a16:creationId xmlns:a16="http://schemas.microsoft.com/office/drawing/2014/main" id="{D3D24D50-B014-D55C-BBC6-3589B85A80B1}"/>
              </a:ext>
            </a:extLst>
          </p:cNvPr>
          <p:cNvCxnSpPr>
            <a:cxnSpLocks/>
          </p:cNvCxnSpPr>
          <p:nvPr/>
        </p:nvCxnSpPr>
        <p:spPr>
          <a:xfrm>
            <a:off x="4526527" y="1287254"/>
            <a:ext cx="1253098" cy="1056508"/>
          </a:xfrm>
          <a:prstGeom prst="bentConnector3">
            <a:avLst>
              <a:gd name="adj1" fmla="val 139694"/>
            </a:avLst>
          </a:prstGeom>
          <a:ln w="63500">
            <a:solidFill>
              <a:srgbClr val="F2A3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5" name="Straight Connector 634">
            <a:extLst>
              <a:ext uri="{FF2B5EF4-FFF2-40B4-BE49-F238E27FC236}">
                <a16:creationId xmlns:a16="http://schemas.microsoft.com/office/drawing/2014/main" id="{F518D4A4-525B-BE31-E3A7-75517EE5645B}"/>
              </a:ext>
            </a:extLst>
          </p:cNvPr>
          <p:cNvCxnSpPr>
            <a:cxnSpLocks/>
          </p:cNvCxnSpPr>
          <p:nvPr/>
        </p:nvCxnSpPr>
        <p:spPr>
          <a:xfrm flipH="1">
            <a:off x="4963284" y="2339057"/>
            <a:ext cx="792122" cy="0"/>
          </a:xfrm>
          <a:prstGeom prst="line">
            <a:avLst/>
          </a:prstGeom>
          <a:ln w="63500">
            <a:solidFill>
              <a:srgbClr val="F2A3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3" name="Straight Connector 642">
            <a:extLst>
              <a:ext uri="{FF2B5EF4-FFF2-40B4-BE49-F238E27FC236}">
                <a16:creationId xmlns:a16="http://schemas.microsoft.com/office/drawing/2014/main" id="{AFD53AAE-AE2F-CD8F-B8B2-E4D6D0303F85}"/>
              </a:ext>
            </a:extLst>
          </p:cNvPr>
          <p:cNvCxnSpPr>
            <a:cxnSpLocks/>
          </p:cNvCxnSpPr>
          <p:nvPr/>
        </p:nvCxnSpPr>
        <p:spPr>
          <a:xfrm flipH="1" flipV="1">
            <a:off x="4954255" y="4274581"/>
            <a:ext cx="616149" cy="3614"/>
          </a:xfrm>
          <a:prstGeom prst="line">
            <a:avLst/>
          </a:prstGeom>
          <a:ln w="63500">
            <a:solidFill>
              <a:srgbClr val="F2A3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4" name="Straight Connector 643">
            <a:extLst>
              <a:ext uri="{FF2B5EF4-FFF2-40B4-BE49-F238E27FC236}">
                <a16:creationId xmlns:a16="http://schemas.microsoft.com/office/drawing/2014/main" id="{F35B9502-F128-26CD-E3CC-7D64C0364D0A}"/>
              </a:ext>
            </a:extLst>
          </p:cNvPr>
          <p:cNvCxnSpPr>
            <a:cxnSpLocks/>
          </p:cNvCxnSpPr>
          <p:nvPr/>
        </p:nvCxnSpPr>
        <p:spPr>
          <a:xfrm flipH="1">
            <a:off x="4948801" y="5155607"/>
            <a:ext cx="581298" cy="0"/>
          </a:xfrm>
          <a:prstGeom prst="line">
            <a:avLst/>
          </a:prstGeom>
          <a:ln w="63500">
            <a:solidFill>
              <a:srgbClr val="F2A3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7" name="Straight Connector 646">
            <a:extLst>
              <a:ext uri="{FF2B5EF4-FFF2-40B4-BE49-F238E27FC236}">
                <a16:creationId xmlns:a16="http://schemas.microsoft.com/office/drawing/2014/main" id="{AB9705CD-ED76-3522-748C-3639A6FBDDF9}"/>
              </a:ext>
            </a:extLst>
          </p:cNvPr>
          <p:cNvCxnSpPr>
            <a:cxnSpLocks/>
          </p:cNvCxnSpPr>
          <p:nvPr/>
        </p:nvCxnSpPr>
        <p:spPr>
          <a:xfrm flipH="1">
            <a:off x="4986567" y="5975189"/>
            <a:ext cx="559393" cy="0"/>
          </a:xfrm>
          <a:prstGeom prst="line">
            <a:avLst/>
          </a:prstGeom>
          <a:ln w="63500">
            <a:solidFill>
              <a:srgbClr val="F2A3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5" name="Straight Connector 584">
            <a:extLst>
              <a:ext uri="{FF2B5EF4-FFF2-40B4-BE49-F238E27FC236}">
                <a16:creationId xmlns:a16="http://schemas.microsoft.com/office/drawing/2014/main" id="{58CFEE45-A020-AEAC-629B-56A9E11B728F}"/>
              </a:ext>
            </a:extLst>
          </p:cNvPr>
          <p:cNvCxnSpPr>
            <a:cxnSpLocks/>
          </p:cNvCxnSpPr>
          <p:nvPr/>
        </p:nvCxnSpPr>
        <p:spPr>
          <a:xfrm flipH="1">
            <a:off x="1584119" y="2053243"/>
            <a:ext cx="33108" cy="3188586"/>
          </a:xfrm>
          <a:prstGeom prst="line">
            <a:avLst/>
          </a:prstGeom>
          <a:ln w="63500">
            <a:solidFill>
              <a:srgbClr val="F2A3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2" name="Group 71">
            <a:extLst>
              <a:ext uri="{FF2B5EF4-FFF2-40B4-BE49-F238E27FC236}">
                <a16:creationId xmlns:a16="http://schemas.microsoft.com/office/drawing/2014/main" id="{726BD65F-B2C0-C627-BA9E-52A6D3A6C04D}"/>
              </a:ext>
            </a:extLst>
          </p:cNvPr>
          <p:cNvGrpSpPr/>
          <p:nvPr/>
        </p:nvGrpSpPr>
        <p:grpSpPr>
          <a:xfrm>
            <a:off x="1113570" y="1500020"/>
            <a:ext cx="991791" cy="1145157"/>
            <a:chOff x="3752904" y="2471580"/>
            <a:chExt cx="1293815" cy="1493884"/>
          </a:xfrm>
        </p:grpSpPr>
        <p:sp>
          <p:nvSpPr>
            <p:cNvPr id="7" name="Google Shape;2137;p24">
              <a:extLst>
                <a:ext uri="{FF2B5EF4-FFF2-40B4-BE49-F238E27FC236}">
                  <a16:creationId xmlns:a16="http://schemas.microsoft.com/office/drawing/2014/main" id="{98A19B0B-1759-48BF-14E4-2B42DB94C5A5}"/>
                </a:ext>
              </a:extLst>
            </p:cNvPr>
            <p:cNvSpPr/>
            <p:nvPr/>
          </p:nvSpPr>
          <p:spPr>
            <a:xfrm>
              <a:off x="4228253" y="3094278"/>
              <a:ext cx="497984" cy="82506"/>
            </a:xfrm>
            <a:custGeom>
              <a:avLst/>
              <a:gdLst/>
              <a:ahLst/>
              <a:cxnLst/>
              <a:rect l="l" t="t" r="r" b="b"/>
              <a:pathLst>
                <a:path w="14347" h="2377" extrusionOk="0">
                  <a:moveTo>
                    <a:pt x="1172" y="1"/>
                  </a:moveTo>
                  <a:cubicBezTo>
                    <a:pt x="539" y="1"/>
                    <a:pt x="0" y="539"/>
                    <a:pt x="0" y="1173"/>
                  </a:cubicBezTo>
                  <a:cubicBezTo>
                    <a:pt x="0" y="1838"/>
                    <a:pt x="539" y="2376"/>
                    <a:pt x="1172" y="2376"/>
                  </a:cubicBezTo>
                  <a:cubicBezTo>
                    <a:pt x="1806" y="2376"/>
                    <a:pt x="2312" y="1901"/>
                    <a:pt x="2344" y="1268"/>
                  </a:cubicBezTo>
                  <a:lnTo>
                    <a:pt x="11971" y="1268"/>
                  </a:lnTo>
                  <a:cubicBezTo>
                    <a:pt x="12035" y="1901"/>
                    <a:pt x="12541" y="2376"/>
                    <a:pt x="13143" y="2376"/>
                  </a:cubicBezTo>
                  <a:cubicBezTo>
                    <a:pt x="13808" y="2376"/>
                    <a:pt x="14347" y="1838"/>
                    <a:pt x="14347" y="1173"/>
                  </a:cubicBezTo>
                  <a:cubicBezTo>
                    <a:pt x="14347" y="539"/>
                    <a:pt x="13808" y="1"/>
                    <a:pt x="13143" y="1"/>
                  </a:cubicBezTo>
                  <a:cubicBezTo>
                    <a:pt x="12541" y="1"/>
                    <a:pt x="12066" y="444"/>
                    <a:pt x="11971" y="1046"/>
                  </a:cubicBezTo>
                  <a:lnTo>
                    <a:pt x="5828" y="1046"/>
                  </a:lnTo>
                  <a:lnTo>
                    <a:pt x="2344" y="1078"/>
                  </a:lnTo>
                  <a:cubicBezTo>
                    <a:pt x="2312" y="476"/>
                    <a:pt x="1806" y="1"/>
                    <a:pt x="1172" y="1"/>
                  </a:cubicBezTo>
                  <a:close/>
                </a:path>
              </a:pathLst>
            </a:custGeom>
            <a:solidFill>
              <a:srgbClr val="27242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" name="Google Shape;2144;p24">
              <a:extLst>
                <a:ext uri="{FF2B5EF4-FFF2-40B4-BE49-F238E27FC236}">
                  <a16:creationId xmlns:a16="http://schemas.microsoft.com/office/drawing/2014/main" id="{DE768095-DD04-4C21-66E4-9593F9F70167}"/>
                </a:ext>
              </a:extLst>
            </p:cNvPr>
            <p:cNvSpPr/>
            <p:nvPr/>
          </p:nvSpPr>
          <p:spPr>
            <a:xfrm>
              <a:off x="3752904" y="2471580"/>
              <a:ext cx="1293815" cy="1493884"/>
            </a:xfrm>
            <a:custGeom>
              <a:avLst/>
              <a:gdLst/>
              <a:ahLst/>
              <a:cxnLst/>
              <a:rect l="l" t="t" r="r" b="b"/>
              <a:pathLst>
                <a:path w="37275" h="43039" extrusionOk="0">
                  <a:moveTo>
                    <a:pt x="18622" y="476"/>
                  </a:moveTo>
                  <a:lnTo>
                    <a:pt x="36831" y="10990"/>
                  </a:lnTo>
                  <a:lnTo>
                    <a:pt x="36831" y="32018"/>
                  </a:lnTo>
                  <a:lnTo>
                    <a:pt x="18622" y="42532"/>
                  </a:lnTo>
                  <a:lnTo>
                    <a:pt x="412" y="32018"/>
                  </a:lnTo>
                  <a:lnTo>
                    <a:pt x="412" y="10990"/>
                  </a:lnTo>
                  <a:lnTo>
                    <a:pt x="18622" y="476"/>
                  </a:lnTo>
                  <a:close/>
                  <a:moveTo>
                    <a:pt x="18622" y="0"/>
                  </a:moveTo>
                  <a:lnTo>
                    <a:pt x="0" y="10736"/>
                  </a:lnTo>
                  <a:lnTo>
                    <a:pt x="0" y="32271"/>
                  </a:lnTo>
                  <a:lnTo>
                    <a:pt x="18622" y="43039"/>
                  </a:lnTo>
                  <a:lnTo>
                    <a:pt x="37180" y="32334"/>
                  </a:lnTo>
                  <a:lnTo>
                    <a:pt x="37275" y="32271"/>
                  </a:lnTo>
                  <a:lnTo>
                    <a:pt x="37275" y="10736"/>
                  </a:lnTo>
                  <a:lnTo>
                    <a:pt x="18622" y="0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22" name="Google Shape;2152;p24">
              <a:extLst>
                <a:ext uri="{FF2B5EF4-FFF2-40B4-BE49-F238E27FC236}">
                  <a16:creationId xmlns:a16="http://schemas.microsoft.com/office/drawing/2014/main" id="{1ECD12D3-0068-9366-DB93-0DEFD46227AC}"/>
                </a:ext>
              </a:extLst>
            </p:cNvPr>
            <p:cNvSpPr/>
            <p:nvPr/>
          </p:nvSpPr>
          <p:spPr>
            <a:xfrm>
              <a:off x="3833153" y="2564464"/>
              <a:ext cx="1133316" cy="1308116"/>
            </a:xfrm>
            <a:custGeom>
              <a:avLst/>
              <a:gdLst/>
              <a:ahLst/>
              <a:cxnLst/>
              <a:rect l="l" t="t" r="r" b="b"/>
              <a:pathLst>
                <a:path w="32651" h="37687" extrusionOk="0">
                  <a:moveTo>
                    <a:pt x="16310" y="1"/>
                  </a:moveTo>
                  <a:lnTo>
                    <a:pt x="0" y="9438"/>
                  </a:lnTo>
                  <a:lnTo>
                    <a:pt x="0" y="28281"/>
                  </a:lnTo>
                  <a:lnTo>
                    <a:pt x="16310" y="37687"/>
                  </a:lnTo>
                  <a:lnTo>
                    <a:pt x="32651" y="28281"/>
                  </a:lnTo>
                  <a:lnTo>
                    <a:pt x="32651" y="9438"/>
                  </a:lnTo>
                  <a:lnTo>
                    <a:pt x="16310" y="1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2153;p24">
              <a:extLst>
                <a:ext uri="{FF2B5EF4-FFF2-40B4-BE49-F238E27FC236}">
                  <a16:creationId xmlns:a16="http://schemas.microsoft.com/office/drawing/2014/main" id="{921805CA-37D3-9673-77AF-4270A8D811B5}"/>
                </a:ext>
              </a:extLst>
            </p:cNvPr>
            <p:cNvSpPr/>
            <p:nvPr/>
          </p:nvSpPr>
          <p:spPr>
            <a:xfrm>
              <a:off x="3858423" y="2605699"/>
              <a:ext cx="1062994" cy="1226756"/>
            </a:xfrm>
            <a:custGeom>
              <a:avLst/>
              <a:gdLst/>
              <a:ahLst/>
              <a:cxnLst/>
              <a:rect l="l" t="t" r="r" b="b"/>
              <a:pathLst>
                <a:path w="30625" h="35343" extrusionOk="0">
                  <a:moveTo>
                    <a:pt x="15297" y="0"/>
                  </a:moveTo>
                  <a:lnTo>
                    <a:pt x="1" y="8836"/>
                  </a:lnTo>
                  <a:lnTo>
                    <a:pt x="1" y="26507"/>
                  </a:lnTo>
                  <a:lnTo>
                    <a:pt x="15297" y="35343"/>
                  </a:lnTo>
                  <a:lnTo>
                    <a:pt x="30625" y="26507"/>
                  </a:lnTo>
                  <a:lnTo>
                    <a:pt x="30625" y="8836"/>
                  </a:lnTo>
                  <a:lnTo>
                    <a:pt x="15297" y="0"/>
                  </a:ln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2154;p24">
              <a:extLst>
                <a:ext uri="{FF2B5EF4-FFF2-40B4-BE49-F238E27FC236}">
                  <a16:creationId xmlns:a16="http://schemas.microsoft.com/office/drawing/2014/main" id="{6C94B89C-C163-B8F4-EF64-4AAF97230C97}"/>
                </a:ext>
              </a:extLst>
            </p:cNvPr>
            <p:cNvSpPr/>
            <p:nvPr/>
          </p:nvSpPr>
          <p:spPr>
            <a:xfrm>
              <a:off x="4344775" y="2844783"/>
              <a:ext cx="63797" cy="115445"/>
            </a:xfrm>
            <a:custGeom>
              <a:avLst/>
              <a:gdLst/>
              <a:ahLst/>
              <a:cxnLst/>
              <a:rect l="l" t="t" r="r" b="b"/>
              <a:pathLst>
                <a:path w="1838" h="3326" extrusionOk="0">
                  <a:moveTo>
                    <a:pt x="855" y="0"/>
                  </a:moveTo>
                  <a:cubicBezTo>
                    <a:pt x="602" y="0"/>
                    <a:pt x="380" y="95"/>
                    <a:pt x="222" y="285"/>
                  </a:cubicBezTo>
                  <a:cubicBezTo>
                    <a:pt x="64" y="475"/>
                    <a:pt x="0" y="697"/>
                    <a:pt x="32" y="950"/>
                  </a:cubicBezTo>
                  <a:lnTo>
                    <a:pt x="349" y="3325"/>
                  </a:lnTo>
                  <a:lnTo>
                    <a:pt x="1489" y="3325"/>
                  </a:lnTo>
                  <a:lnTo>
                    <a:pt x="1805" y="950"/>
                  </a:lnTo>
                  <a:cubicBezTo>
                    <a:pt x="1837" y="697"/>
                    <a:pt x="1774" y="475"/>
                    <a:pt x="1615" y="285"/>
                  </a:cubicBezTo>
                  <a:cubicBezTo>
                    <a:pt x="1457" y="95"/>
                    <a:pt x="1235" y="0"/>
                    <a:pt x="98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2155;p24">
              <a:extLst>
                <a:ext uri="{FF2B5EF4-FFF2-40B4-BE49-F238E27FC236}">
                  <a16:creationId xmlns:a16="http://schemas.microsoft.com/office/drawing/2014/main" id="{3AAFCB2F-6A97-C92D-B44B-6009FC008FB2}"/>
                </a:ext>
              </a:extLst>
            </p:cNvPr>
            <p:cNvSpPr/>
            <p:nvPr/>
          </p:nvSpPr>
          <p:spPr>
            <a:xfrm>
              <a:off x="4137001" y="2932703"/>
              <a:ext cx="106664" cy="105553"/>
            </a:xfrm>
            <a:custGeom>
              <a:avLst/>
              <a:gdLst/>
              <a:ahLst/>
              <a:cxnLst/>
              <a:rect l="l" t="t" r="r" b="b"/>
              <a:pathLst>
                <a:path w="3073" h="3041" extrusionOk="0">
                  <a:moveTo>
                    <a:pt x="919" y="1"/>
                  </a:moveTo>
                  <a:cubicBezTo>
                    <a:pt x="698" y="1"/>
                    <a:pt x="508" y="96"/>
                    <a:pt x="349" y="222"/>
                  </a:cubicBezTo>
                  <a:lnTo>
                    <a:pt x="254" y="317"/>
                  </a:lnTo>
                  <a:cubicBezTo>
                    <a:pt x="96" y="507"/>
                    <a:pt x="1" y="729"/>
                    <a:pt x="1" y="982"/>
                  </a:cubicBezTo>
                  <a:cubicBezTo>
                    <a:pt x="33" y="1204"/>
                    <a:pt x="159" y="1426"/>
                    <a:pt x="349" y="1584"/>
                  </a:cubicBezTo>
                  <a:lnTo>
                    <a:pt x="2249" y="3041"/>
                  </a:lnTo>
                  <a:lnTo>
                    <a:pt x="3073" y="2249"/>
                  </a:lnTo>
                  <a:lnTo>
                    <a:pt x="1584" y="349"/>
                  </a:lnTo>
                  <a:cubicBezTo>
                    <a:pt x="1426" y="127"/>
                    <a:pt x="1204" y="1"/>
                    <a:pt x="919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2156;p24">
              <a:extLst>
                <a:ext uri="{FF2B5EF4-FFF2-40B4-BE49-F238E27FC236}">
                  <a16:creationId xmlns:a16="http://schemas.microsoft.com/office/drawing/2014/main" id="{606C41BD-44BB-0012-56A6-C6B08A05E3FD}"/>
                </a:ext>
              </a:extLst>
            </p:cNvPr>
            <p:cNvSpPr/>
            <p:nvPr/>
          </p:nvSpPr>
          <p:spPr>
            <a:xfrm>
              <a:off x="4054565" y="3142664"/>
              <a:ext cx="115445" cy="61576"/>
            </a:xfrm>
            <a:custGeom>
              <a:avLst/>
              <a:gdLst/>
              <a:ahLst/>
              <a:cxnLst/>
              <a:rect l="l" t="t" r="r" b="b"/>
              <a:pathLst>
                <a:path w="3326" h="1774" extrusionOk="0">
                  <a:moveTo>
                    <a:pt x="824" y="0"/>
                  </a:moveTo>
                  <a:cubicBezTo>
                    <a:pt x="381" y="0"/>
                    <a:pt x="1" y="380"/>
                    <a:pt x="1" y="824"/>
                  </a:cubicBezTo>
                  <a:lnTo>
                    <a:pt x="1" y="950"/>
                  </a:lnTo>
                  <a:cubicBezTo>
                    <a:pt x="1" y="1425"/>
                    <a:pt x="381" y="1774"/>
                    <a:pt x="824" y="1774"/>
                  </a:cubicBezTo>
                  <a:lnTo>
                    <a:pt x="951" y="1774"/>
                  </a:lnTo>
                  <a:lnTo>
                    <a:pt x="3326" y="1489"/>
                  </a:lnTo>
                  <a:lnTo>
                    <a:pt x="3326" y="317"/>
                  </a:lnTo>
                  <a:lnTo>
                    <a:pt x="951" y="32"/>
                  </a:lnTo>
                  <a:cubicBezTo>
                    <a:pt x="919" y="0"/>
                    <a:pt x="856" y="0"/>
                    <a:pt x="82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2157;p24">
              <a:extLst>
                <a:ext uri="{FF2B5EF4-FFF2-40B4-BE49-F238E27FC236}">
                  <a16:creationId xmlns:a16="http://schemas.microsoft.com/office/drawing/2014/main" id="{F2475B99-931F-AB14-F484-3D2131A5F15F}"/>
                </a:ext>
              </a:extLst>
            </p:cNvPr>
            <p:cNvSpPr/>
            <p:nvPr/>
          </p:nvSpPr>
          <p:spPr>
            <a:xfrm>
              <a:off x="4589897" y="3136069"/>
              <a:ext cx="116556" cy="61576"/>
            </a:xfrm>
            <a:custGeom>
              <a:avLst/>
              <a:gdLst/>
              <a:ahLst/>
              <a:cxnLst/>
              <a:rect l="l" t="t" r="r" b="b"/>
              <a:pathLst>
                <a:path w="3358" h="1774" extrusionOk="0">
                  <a:moveTo>
                    <a:pt x="2407" y="0"/>
                  </a:moveTo>
                  <a:lnTo>
                    <a:pt x="1" y="317"/>
                  </a:lnTo>
                  <a:lnTo>
                    <a:pt x="1" y="1457"/>
                  </a:lnTo>
                  <a:lnTo>
                    <a:pt x="2407" y="1774"/>
                  </a:lnTo>
                  <a:lnTo>
                    <a:pt x="2534" y="1774"/>
                  </a:lnTo>
                  <a:cubicBezTo>
                    <a:pt x="2756" y="1774"/>
                    <a:pt x="2946" y="1679"/>
                    <a:pt x="3104" y="1552"/>
                  </a:cubicBezTo>
                  <a:cubicBezTo>
                    <a:pt x="3262" y="1394"/>
                    <a:pt x="3357" y="1172"/>
                    <a:pt x="3357" y="950"/>
                  </a:cubicBezTo>
                  <a:lnTo>
                    <a:pt x="3357" y="824"/>
                  </a:lnTo>
                  <a:cubicBezTo>
                    <a:pt x="3357" y="380"/>
                    <a:pt x="2977" y="0"/>
                    <a:pt x="253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2158;p24">
              <a:extLst>
                <a:ext uri="{FF2B5EF4-FFF2-40B4-BE49-F238E27FC236}">
                  <a16:creationId xmlns:a16="http://schemas.microsoft.com/office/drawing/2014/main" id="{634E041D-CAA8-6EBD-F3EF-FA60F78C8B00}"/>
                </a:ext>
              </a:extLst>
            </p:cNvPr>
            <p:cNvSpPr/>
            <p:nvPr/>
          </p:nvSpPr>
          <p:spPr>
            <a:xfrm>
              <a:off x="4511869" y="2927219"/>
              <a:ext cx="106629" cy="106664"/>
            </a:xfrm>
            <a:custGeom>
              <a:avLst/>
              <a:gdLst/>
              <a:ahLst/>
              <a:cxnLst/>
              <a:rect l="l" t="t" r="r" b="b"/>
              <a:pathLst>
                <a:path w="3072" h="3073" extrusionOk="0">
                  <a:moveTo>
                    <a:pt x="2154" y="0"/>
                  </a:moveTo>
                  <a:cubicBezTo>
                    <a:pt x="1900" y="0"/>
                    <a:pt x="1647" y="127"/>
                    <a:pt x="1488" y="349"/>
                  </a:cubicBezTo>
                  <a:lnTo>
                    <a:pt x="0" y="2249"/>
                  </a:lnTo>
                  <a:lnTo>
                    <a:pt x="823" y="3072"/>
                  </a:lnTo>
                  <a:lnTo>
                    <a:pt x="2724" y="1584"/>
                  </a:lnTo>
                  <a:cubicBezTo>
                    <a:pt x="2914" y="1457"/>
                    <a:pt x="3040" y="1235"/>
                    <a:pt x="3072" y="982"/>
                  </a:cubicBezTo>
                  <a:cubicBezTo>
                    <a:pt x="3072" y="760"/>
                    <a:pt x="3009" y="507"/>
                    <a:pt x="2819" y="317"/>
                  </a:cubicBezTo>
                  <a:lnTo>
                    <a:pt x="2724" y="254"/>
                  </a:lnTo>
                  <a:cubicBezTo>
                    <a:pt x="2565" y="95"/>
                    <a:pt x="2375" y="0"/>
                    <a:pt x="215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2159;p24">
              <a:extLst>
                <a:ext uri="{FF2B5EF4-FFF2-40B4-BE49-F238E27FC236}">
                  <a16:creationId xmlns:a16="http://schemas.microsoft.com/office/drawing/2014/main" id="{67625DAE-7F8A-A08B-3538-79A9614A9063}"/>
                </a:ext>
              </a:extLst>
            </p:cNvPr>
            <p:cNvSpPr/>
            <p:nvPr/>
          </p:nvSpPr>
          <p:spPr>
            <a:xfrm>
              <a:off x="4210655" y="2987649"/>
              <a:ext cx="330925" cy="484795"/>
            </a:xfrm>
            <a:custGeom>
              <a:avLst/>
              <a:gdLst/>
              <a:ahLst/>
              <a:cxnLst/>
              <a:rect l="l" t="t" r="r" b="b"/>
              <a:pathLst>
                <a:path w="9534" h="13967" extrusionOk="0">
                  <a:moveTo>
                    <a:pt x="4751" y="1"/>
                  </a:moveTo>
                  <a:cubicBezTo>
                    <a:pt x="3453" y="1"/>
                    <a:pt x="2281" y="508"/>
                    <a:pt x="1362" y="1458"/>
                  </a:cubicBezTo>
                  <a:cubicBezTo>
                    <a:pt x="476" y="2408"/>
                    <a:pt x="1" y="3611"/>
                    <a:pt x="32" y="4910"/>
                  </a:cubicBezTo>
                  <a:cubicBezTo>
                    <a:pt x="64" y="5606"/>
                    <a:pt x="222" y="6240"/>
                    <a:pt x="507" y="6841"/>
                  </a:cubicBezTo>
                  <a:cubicBezTo>
                    <a:pt x="571" y="6936"/>
                    <a:pt x="634" y="7031"/>
                    <a:pt x="729" y="7158"/>
                  </a:cubicBezTo>
                  <a:cubicBezTo>
                    <a:pt x="1014" y="7602"/>
                    <a:pt x="1679" y="8583"/>
                    <a:pt x="1774" y="9597"/>
                  </a:cubicBezTo>
                  <a:cubicBezTo>
                    <a:pt x="1806" y="9913"/>
                    <a:pt x="1964" y="10198"/>
                    <a:pt x="2186" y="10420"/>
                  </a:cubicBezTo>
                  <a:cubicBezTo>
                    <a:pt x="2123" y="10515"/>
                    <a:pt x="2091" y="10642"/>
                    <a:pt x="2091" y="10768"/>
                  </a:cubicBezTo>
                  <a:lnTo>
                    <a:pt x="2091" y="10863"/>
                  </a:lnTo>
                  <a:cubicBezTo>
                    <a:pt x="2091" y="11117"/>
                    <a:pt x="2218" y="11338"/>
                    <a:pt x="2376" y="11497"/>
                  </a:cubicBezTo>
                  <a:cubicBezTo>
                    <a:pt x="2344" y="11592"/>
                    <a:pt x="2313" y="11687"/>
                    <a:pt x="2313" y="11782"/>
                  </a:cubicBezTo>
                  <a:lnTo>
                    <a:pt x="2313" y="11908"/>
                  </a:lnTo>
                  <a:cubicBezTo>
                    <a:pt x="2313" y="12130"/>
                    <a:pt x="2408" y="12352"/>
                    <a:pt x="2566" y="12510"/>
                  </a:cubicBezTo>
                  <a:cubicBezTo>
                    <a:pt x="2534" y="12637"/>
                    <a:pt x="2534" y="12795"/>
                    <a:pt x="2566" y="12954"/>
                  </a:cubicBezTo>
                  <a:cubicBezTo>
                    <a:pt x="2819" y="13555"/>
                    <a:pt x="3706" y="13967"/>
                    <a:pt x="4783" y="13967"/>
                  </a:cubicBezTo>
                  <a:cubicBezTo>
                    <a:pt x="5891" y="13967"/>
                    <a:pt x="6746" y="13555"/>
                    <a:pt x="7000" y="12954"/>
                  </a:cubicBezTo>
                  <a:cubicBezTo>
                    <a:pt x="7063" y="12795"/>
                    <a:pt x="7063" y="12637"/>
                    <a:pt x="7000" y="12510"/>
                  </a:cubicBezTo>
                  <a:cubicBezTo>
                    <a:pt x="7158" y="12352"/>
                    <a:pt x="7253" y="12130"/>
                    <a:pt x="7253" y="11908"/>
                  </a:cubicBezTo>
                  <a:lnTo>
                    <a:pt x="7253" y="11782"/>
                  </a:lnTo>
                  <a:cubicBezTo>
                    <a:pt x="7253" y="11687"/>
                    <a:pt x="7253" y="11623"/>
                    <a:pt x="7221" y="11560"/>
                  </a:cubicBezTo>
                  <a:cubicBezTo>
                    <a:pt x="7443" y="11402"/>
                    <a:pt x="7570" y="11148"/>
                    <a:pt x="7570" y="10863"/>
                  </a:cubicBezTo>
                  <a:lnTo>
                    <a:pt x="7570" y="10768"/>
                  </a:lnTo>
                  <a:cubicBezTo>
                    <a:pt x="7570" y="10610"/>
                    <a:pt x="7538" y="10483"/>
                    <a:pt x="7475" y="10357"/>
                  </a:cubicBezTo>
                  <a:cubicBezTo>
                    <a:pt x="7665" y="10167"/>
                    <a:pt x="7791" y="9913"/>
                    <a:pt x="7823" y="9628"/>
                  </a:cubicBezTo>
                  <a:cubicBezTo>
                    <a:pt x="7855" y="8868"/>
                    <a:pt x="8235" y="8013"/>
                    <a:pt x="8931" y="7063"/>
                  </a:cubicBezTo>
                  <a:cubicBezTo>
                    <a:pt x="8963" y="6968"/>
                    <a:pt x="8995" y="6936"/>
                    <a:pt x="9026" y="6905"/>
                  </a:cubicBezTo>
                  <a:cubicBezTo>
                    <a:pt x="9375" y="6303"/>
                    <a:pt x="9533" y="5606"/>
                    <a:pt x="9533" y="4751"/>
                  </a:cubicBezTo>
                  <a:cubicBezTo>
                    <a:pt x="9533" y="3453"/>
                    <a:pt x="9058" y="2281"/>
                    <a:pt x="8140" y="1363"/>
                  </a:cubicBezTo>
                  <a:cubicBezTo>
                    <a:pt x="7253" y="476"/>
                    <a:pt x="6050" y="1"/>
                    <a:pt x="478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2160;p24">
              <a:extLst>
                <a:ext uri="{FF2B5EF4-FFF2-40B4-BE49-F238E27FC236}">
                  <a16:creationId xmlns:a16="http://schemas.microsoft.com/office/drawing/2014/main" id="{CA2C0D1D-EE26-23F4-68E7-1ACBEC3CEB42}"/>
                </a:ext>
              </a:extLst>
            </p:cNvPr>
            <p:cNvSpPr/>
            <p:nvPr/>
          </p:nvSpPr>
          <p:spPr>
            <a:xfrm>
              <a:off x="4255744" y="3028329"/>
              <a:ext cx="248454" cy="289134"/>
            </a:xfrm>
            <a:custGeom>
              <a:avLst/>
              <a:gdLst/>
              <a:ahLst/>
              <a:cxnLst/>
              <a:rect l="l" t="t" r="r" b="b"/>
              <a:pathLst>
                <a:path w="7158" h="8330" extrusionOk="0">
                  <a:moveTo>
                    <a:pt x="3547" y="1"/>
                  </a:moveTo>
                  <a:cubicBezTo>
                    <a:pt x="2597" y="32"/>
                    <a:pt x="1710" y="412"/>
                    <a:pt x="1045" y="1109"/>
                  </a:cubicBezTo>
                  <a:cubicBezTo>
                    <a:pt x="349" y="1806"/>
                    <a:pt x="0" y="2724"/>
                    <a:pt x="32" y="3706"/>
                  </a:cubicBezTo>
                  <a:cubicBezTo>
                    <a:pt x="32" y="4213"/>
                    <a:pt x="158" y="4688"/>
                    <a:pt x="380" y="5131"/>
                  </a:cubicBezTo>
                  <a:cubicBezTo>
                    <a:pt x="412" y="5163"/>
                    <a:pt x="475" y="5258"/>
                    <a:pt x="507" y="5321"/>
                  </a:cubicBezTo>
                  <a:cubicBezTo>
                    <a:pt x="855" y="5828"/>
                    <a:pt x="1647" y="7000"/>
                    <a:pt x="1742" y="8330"/>
                  </a:cubicBezTo>
                  <a:lnTo>
                    <a:pt x="5416" y="8330"/>
                  </a:lnTo>
                  <a:cubicBezTo>
                    <a:pt x="5511" y="7380"/>
                    <a:pt x="5954" y="6335"/>
                    <a:pt x="6746" y="5194"/>
                  </a:cubicBezTo>
                  <a:cubicBezTo>
                    <a:pt x="6777" y="5163"/>
                    <a:pt x="6809" y="5131"/>
                    <a:pt x="6809" y="5099"/>
                  </a:cubicBezTo>
                  <a:cubicBezTo>
                    <a:pt x="7031" y="4719"/>
                    <a:pt x="7157" y="4213"/>
                    <a:pt x="7157" y="3579"/>
                  </a:cubicBezTo>
                  <a:cubicBezTo>
                    <a:pt x="7157" y="2629"/>
                    <a:pt x="6777" y="1711"/>
                    <a:pt x="6112" y="1046"/>
                  </a:cubicBezTo>
                  <a:cubicBezTo>
                    <a:pt x="5416" y="381"/>
                    <a:pt x="4529" y="1"/>
                    <a:pt x="3579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2161;p24">
              <a:extLst>
                <a:ext uri="{FF2B5EF4-FFF2-40B4-BE49-F238E27FC236}">
                  <a16:creationId xmlns:a16="http://schemas.microsoft.com/office/drawing/2014/main" id="{C1D8999C-042E-71CF-41C7-47DD3569F8F0}"/>
                </a:ext>
              </a:extLst>
            </p:cNvPr>
            <p:cNvSpPr/>
            <p:nvPr/>
          </p:nvSpPr>
          <p:spPr>
            <a:xfrm>
              <a:off x="4232662" y="3007469"/>
              <a:ext cx="290210" cy="330890"/>
            </a:xfrm>
            <a:custGeom>
              <a:avLst/>
              <a:gdLst/>
              <a:ahLst/>
              <a:cxnLst/>
              <a:rect l="l" t="t" r="r" b="b"/>
              <a:pathLst>
                <a:path w="8361" h="9533" extrusionOk="0">
                  <a:moveTo>
                    <a:pt x="4212" y="602"/>
                  </a:moveTo>
                  <a:cubicBezTo>
                    <a:pt x="5130" y="602"/>
                    <a:pt x="6049" y="982"/>
                    <a:pt x="6714" y="1647"/>
                  </a:cubicBezTo>
                  <a:cubicBezTo>
                    <a:pt x="7379" y="2312"/>
                    <a:pt x="7759" y="3199"/>
                    <a:pt x="7759" y="4180"/>
                  </a:cubicBezTo>
                  <a:cubicBezTo>
                    <a:pt x="7759" y="4814"/>
                    <a:pt x="7664" y="5320"/>
                    <a:pt x="7411" y="5700"/>
                  </a:cubicBezTo>
                  <a:cubicBezTo>
                    <a:pt x="7411" y="5732"/>
                    <a:pt x="7379" y="5764"/>
                    <a:pt x="7347" y="5795"/>
                  </a:cubicBezTo>
                  <a:cubicBezTo>
                    <a:pt x="6556" y="6904"/>
                    <a:pt x="6112" y="7981"/>
                    <a:pt x="6049" y="8931"/>
                  </a:cubicBezTo>
                  <a:lnTo>
                    <a:pt x="2375" y="8931"/>
                  </a:lnTo>
                  <a:cubicBezTo>
                    <a:pt x="2249" y="7601"/>
                    <a:pt x="1457" y="6429"/>
                    <a:pt x="1140" y="5922"/>
                  </a:cubicBezTo>
                  <a:cubicBezTo>
                    <a:pt x="1077" y="5859"/>
                    <a:pt x="1014" y="5764"/>
                    <a:pt x="982" y="5732"/>
                  </a:cubicBezTo>
                  <a:cubicBezTo>
                    <a:pt x="760" y="5289"/>
                    <a:pt x="665" y="4814"/>
                    <a:pt x="633" y="4307"/>
                  </a:cubicBezTo>
                  <a:cubicBezTo>
                    <a:pt x="602" y="3325"/>
                    <a:pt x="950" y="2407"/>
                    <a:pt x="1647" y="1710"/>
                  </a:cubicBezTo>
                  <a:cubicBezTo>
                    <a:pt x="2312" y="1013"/>
                    <a:pt x="3199" y="602"/>
                    <a:pt x="4180" y="602"/>
                  </a:cubicBezTo>
                  <a:close/>
                  <a:moveTo>
                    <a:pt x="4180" y="0"/>
                  </a:moveTo>
                  <a:cubicBezTo>
                    <a:pt x="3040" y="0"/>
                    <a:pt x="1995" y="475"/>
                    <a:pt x="1204" y="1298"/>
                  </a:cubicBezTo>
                  <a:cubicBezTo>
                    <a:pt x="412" y="2122"/>
                    <a:pt x="0" y="3199"/>
                    <a:pt x="32" y="4307"/>
                  </a:cubicBezTo>
                  <a:cubicBezTo>
                    <a:pt x="63" y="4909"/>
                    <a:pt x="190" y="5479"/>
                    <a:pt x="443" y="6017"/>
                  </a:cubicBezTo>
                  <a:cubicBezTo>
                    <a:pt x="475" y="6080"/>
                    <a:pt x="538" y="6144"/>
                    <a:pt x="633" y="6270"/>
                  </a:cubicBezTo>
                  <a:cubicBezTo>
                    <a:pt x="950" y="6745"/>
                    <a:pt x="1679" y="7822"/>
                    <a:pt x="1774" y="8994"/>
                  </a:cubicBezTo>
                  <a:cubicBezTo>
                    <a:pt x="1805" y="9311"/>
                    <a:pt x="2059" y="9532"/>
                    <a:pt x="2375" y="9532"/>
                  </a:cubicBezTo>
                  <a:lnTo>
                    <a:pt x="6049" y="9532"/>
                  </a:lnTo>
                  <a:cubicBezTo>
                    <a:pt x="6366" y="9532"/>
                    <a:pt x="6619" y="9311"/>
                    <a:pt x="6651" y="8994"/>
                  </a:cubicBezTo>
                  <a:cubicBezTo>
                    <a:pt x="6714" y="8139"/>
                    <a:pt x="7126" y="7189"/>
                    <a:pt x="7854" y="6144"/>
                  </a:cubicBezTo>
                  <a:cubicBezTo>
                    <a:pt x="7886" y="6080"/>
                    <a:pt x="7917" y="6049"/>
                    <a:pt x="7949" y="6017"/>
                  </a:cubicBezTo>
                  <a:cubicBezTo>
                    <a:pt x="8234" y="5542"/>
                    <a:pt x="8361" y="4940"/>
                    <a:pt x="8361" y="4180"/>
                  </a:cubicBezTo>
                  <a:cubicBezTo>
                    <a:pt x="8361" y="3040"/>
                    <a:pt x="7949" y="1995"/>
                    <a:pt x="7157" y="1203"/>
                  </a:cubicBezTo>
                  <a:cubicBezTo>
                    <a:pt x="6334" y="412"/>
                    <a:pt x="5289" y="0"/>
                    <a:pt x="4180" y="0"/>
                  </a:cubicBez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2162;p24">
              <a:extLst>
                <a:ext uri="{FF2B5EF4-FFF2-40B4-BE49-F238E27FC236}">
                  <a16:creationId xmlns:a16="http://schemas.microsoft.com/office/drawing/2014/main" id="{964282F8-EF7B-5D38-428A-8CB585FA5BAA}"/>
                </a:ext>
              </a:extLst>
            </p:cNvPr>
            <p:cNvSpPr/>
            <p:nvPr/>
          </p:nvSpPr>
          <p:spPr>
            <a:xfrm>
              <a:off x="4306282" y="3351514"/>
              <a:ext cx="148455" cy="23117"/>
            </a:xfrm>
            <a:custGeom>
              <a:avLst/>
              <a:gdLst/>
              <a:ahLst/>
              <a:cxnLst/>
              <a:rect l="l" t="t" r="r" b="b"/>
              <a:pathLst>
                <a:path w="4277" h="666" extrusionOk="0">
                  <a:moveTo>
                    <a:pt x="286" y="0"/>
                  </a:moveTo>
                  <a:cubicBezTo>
                    <a:pt x="128" y="0"/>
                    <a:pt x="1" y="127"/>
                    <a:pt x="1" y="285"/>
                  </a:cubicBezTo>
                  <a:lnTo>
                    <a:pt x="1" y="380"/>
                  </a:lnTo>
                  <a:cubicBezTo>
                    <a:pt x="1" y="539"/>
                    <a:pt x="96" y="665"/>
                    <a:pt x="286" y="665"/>
                  </a:cubicBezTo>
                  <a:lnTo>
                    <a:pt x="3991" y="665"/>
                  </a:lnTo>
                  <a:cubicBezTo>
                    <a:pt x="4150" y="665"/>
                    <a:pt x="4276" y="539"/>
                    <a:pt x="4276" y="380"/>
                  </a:cubicBezTo>
                  <a:lnTo>
                    <a:pt x="4276" y="285"/>
                  </a:lnTo>
                  <a:cubicBezTo>
                    <a:pt x="4276" y="127"/>
                    <a:pt x="4150" y="0"/>
                    <a:pt x="3991" y="0"/>
                  </a:cubicBez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2163;p24">
              <a:extLst>
                <a:ext uri="{FF2B5EF4-FFF2-40B4-BE49-F238E27FC236}">
                  <a16:creationId xmlns:a16="http://schemas.microsoft.com/office/drawing/2014/main" id="{0CEB0B63-3022-4DCF-19E5-D43938055862}"/>
                </a:ext>
              </a:extLst>
            </p:cNvPr>
            <p:cNvSpPr/>
            <p:nvPr/>
          </p:nvSpPr>
          <p:spPr>
            <a:xfrm>
              <a:off x="4312876" y="3386675"/>
              <a:ext cx="130857" cy="23117"/>
            </a:xfrm>
            <a:custGeom>
              <a:avLst/>
              <a:gdLst/>
              <a:ahLst/>
              <a:cxnLst/>
              <a:rect l="l" t="t" r="r" b="b"/>
              <a:pathLst>
                <a:path w="3770" h="666" extrusionOk="0">
                  <a:moveTo>
                    <a:pt x="286" y="1"/>
                  </a:moveTo>
                  <a:cubicBezTo>
                    <a:pt x="128" y="1"/>
                    <a:pt x="1" y="127"/>
                    <a:pt x="1" y="286"/>
                  </a:cubicBezTo>
                  <a:lnTo>
                    <a:pt x="1" y="412"/>
                  </a:lnTo>
                  <a:cubicBezTo>
                    <a:pt x="1" y="539"/>
                    <a:pt x="128" y="666"/>
                    <a:pt x="286" y="666"/>
                  </a:cubicBezTo>
                  <a:lnTo>
                    <a:pt x="3516" y="666"/>
                  </a:lnTo>
                  <a:cubicBezTo>
                    <a:pt x="3643" y="666"/>
                    <a:pt x="3770" y="571"/>
                    <a:pt x="3770" y="412"/>
                  </a:cubicBezTo>
                  <a:lnTo>
                    <a:pt x="3770" y="286"/>
                  </a:lnTo>
                  <a:cubicBezTo>
                    <a:pt x="3770" y="127"/>
                    <a:pt x="3643" y="1"/>
                    <a:pt x="3516" y="1"/>
                  </a:cubicBez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2164;p24">
              <a:extLst>
                <a:ext uri="{FF2B5EF4-FFF2-40B4-BE49-F238E27FC236}">
                  <a16:creationId xmlns:a16="http://schemas.microsoft.com/office/drawing/2014/main" id="{B2802990-3B16-8E6E-B58B-1A502E338CDE}"/>
                </a:ext>
              </a:extLst>
            </p:cNvPr>
            <p:cNvSpPr/>
            <p:nvPr/>
          </p:nvSpPr>
          <p:spPr>
            <a:xfrm>
              <a:off x="4319471" y="3424058"/>
              <a:ext cx="117667" cy="27525"/>
            </a:xfrm>
            <a:custGeom>
              <a:avLst/>
              <a:gdLst/>
              <a:ahLst/>
              <a:cxnLst/>
              <a:rect l="l" t="t" r="r" b="b"/>
              <a:pathLst>
                <a:path w="3390" h="793" extrusionOk="0">
                  <a:moveTo>
                    <a:pt x="223" y="1"/>
                  </a:moveTo>
                  <a:cubicBezTo>
                    <a:pt x="96" y="1"/>
                    <a:pt x="1" y="64"/>
                    <a:pt x="33" y="159"/>
                  </a:cubicBezTo>
                  <a:cubicBezTo>
                    <a:pt x="191" y="507"/>
                    <a:pt x="888" y="792"/>
                    <a:pt x="1711" y="792"/>
                  </a:cubicBezTo>
                  <a:cubicBezTo>
                    <a:pt x="2534" y="792"/>
                    <a:pt x="3231" y="507"/>
                    <a:pt x="3358" y="159"/>
                  </a:cubicBezTo>
                  <a:cubicBezTo>
                    <a:pt x="3390" y="64"/>
                    <a:pt x="3295" y="1"/>
                    <a:pt x="3200" y="1"/>
                  </a:cubicBez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2165;p24">
              <a:extLst>
                <a:ext uri="{FF2B5EF4-FFF2-40B4-BE49-F238E27FC236}">
                  <a16:creationId xmlns:a16="http://schemas.microsoft.com/office/drawing/2014/main" id="{6452AFC0-B1E5-D14F-5721-8E7745BC4B85}"/>
                </a:ext>
              </a:extLst>
            </p:cNvPr>
            <p:cNvSpPr/>
            <p:nvPr/>
          </p:nvSpPr>
          <p:spPr>
            <a:xfrm>
              <a:off x="4366746" y="2864567"/>
              <a:ext cx="23117" cy="93439"/>
            </a:xfrm>
            <a:custGeom>
              <a:avLst/>
              <a:gdLst/>
              <a:ahLst/>
              <a:cxnLst/>
              <a:rect l="l" t="t" r="r" b="b"/>
              <a:pathLst>
                <a:path w="666" h="2692" extrusionOk="0">
                  <a:moveTo>
                    <a:pt x="286" y="0"/>
                  </a:moveTo>
                  <a:cubicBezTo>
                    <a:pt x="127" y="0"/>
                    <a:pt x="1" y="127"/>
                    <a:pt x="32" y="285"/>
                  </a:cubicBezTo>
                  <a:lnTo>
                    <a:pt x="349" y="2692"/>
                  </a:lnTo>
                  <a:lnTo>
                    <a:pt x="634" y="285"/>
                  </a:lnTo>
                  <a:cubicBezTo>
                    <a:pt x="666" y="127"/>
                    <a:pt x="539" y="0"/>
                    <a:pt x="412" y="0"/>
                  </a:cubicBezTo>
                  <a:close/>
                </a:path>
              </a:pathLst>
            </a:custGeom>
            <a:solidFill>
              <a:srgbClr val="F2A36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2166;p24">
              <a:extLst>
                <a:ext uri="{FF2B5EF4-FFF2-40B4-BE49-F238E27FC236}">
                  <a16:creationId xmlns:a16="http://schemas.microsoft.com/office/drawing/2014/main" id="{B772CE72-4F3F-D37F-6DCD-66F7E81DC3E2}"/>
                </a:ext>
              </a:extLst>
            </p:cNvPr>
            <p:cNvSpPr/>
            <p:nvPr/>
          </p:nvSpPr>
          <p:spPr>
            <a:xfrm>
              <a:off x="4157896" y="2952696"/>
              <a:ext cx="71503" cy="70184"/>
            </a:xfrm>
            <a:custGeom>
              <a:avLst/>
              <a:gdLst/>
              <a:ahLst/>
              <a:cxnLst/>
              <a:rect l="l" t="t" r="r" b="b"/>
              <a:pathLst>
                <a:path w="2060" h="2022" extrusionOk="0">
                  <a:moveTo>
                    <a:pt x="375" y="1"/>
                  </a:moveTo>
                  <a:cubicBezTo>
                    <a:pt x="319" y="1"/>
                    <a:pt x="262" y="18"/>
                    <a:pt x="222" y="58"/>
                  </a:cubicBezTo>
                  <a:lnTo>
                    <a:pt x="127" y="153"/>
                  </a:lnTo>
                  <a:cubicBezTo>
                    <a:pt x="1" y="280"/>
                    <a:pt x="32" y="438"/>
                    <a:pt x="159" y="533"/>
                  </a:cubicBezTo>
                  <a:lnTo>
                    <a:pt x="2059" y="2021"/>
                  </a:lnTo>
                  <a:lnTo>
                    <a:pt x="571" y="90"/>
                  </a:lnTo>
                  <a:cubicBezTo>
                    <a:pt x="534" y="34"/>
                    <a:pt x="454" y="1"/>
                    <a:pt x="375" y="1"/>
                  </a:cubicBezTo>
                  <a:close/>
                </a:path>
              </a:pathLst>
            </a:custGeom>
            <a:solidFill>
              <a:srgbClr val="F2A36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2167;p24">
              <a:extLst>
                <a:ext uri="{FF2B5EF4-FFF2-40B4-BE49-F238E27FC236}">
                  <a16:creationId xmlns:a16="http://schemas.microsoft.com/office/drawing/2014/main" id="{FE441B78-499C-D76C-6E22-6B6779666841}"/>
                </a:ext>
              </a:extLst>
            </p:cNvPr>
            <p:cNvSpPr/>
            <p:nvPr/>
          </p:nvSpPr>
          <p:spPr>
            <a:xfrm>
              <a:off x="4076571" y="3163386"/>
              <a:ext cx="93439" cy="21243"/>
            </a:xfrm>
            <a:custGeom>
              <a:avLst/>
              <a:gdLst/>
              <a:ahLst/>
              <a:cxnLst/>
              <a:rect l="l" t="t" r="r" b="b"/>
              <a:pathLst>
                <a:path w="2692" h="612" extrusionOk="0">
                  <a:moveTo>
                    <a:pt x="236" y="0"/>
                  </a:moveTo>
                  <a:cubicBezTo>
                    <a:pt x="101" y="0"/>
                    <a:pt x="0" y="113"/>
                    <a:pt x="0" y="227"/>
                  </a:cubicBezTo>
                  <a:lnTo>
                    <a:pt x="0" y="353"/>
                  </a:lnTo>
                  <a:cubicBezTo>
                    <a:pt x="0" y="495"/>
                    <a:pt x="102" y="612"/>
                    <a:pt x="237" y="612"/>
                  </a:cubicBezTo>
                  <a:cubicBezTo>
                    <a:pt x="252" y="612"/>
                    <a:pt x="269" y="610"/>
                    <a:pt x="285" y="607"/>
                  </a:cubicBezTo>
                  <a:lnTo>
                    <a:pt x="2692" y="290"/>
                  </a:lnTo>
                  <a:lnTo>
                    <a:pt x="285" y="5"/>
                  </a:lnTo>
                  <a:cubicBezTo>
                    <a:pt x="268" y="2"/>
                    <a:pt x="252" y="0"/>
                    <a:pt x="236" y="0"/>
                  </a:cubicBezTo>
                  <a:close/>
                </a:path>
              </a:pathLst>
            </a:custGeom>
            <a:solidFill>
              <a:srgbClr val="F2A36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2168;p24">
              <a:extLst>
                <a:ext uri="{FF2B5EF4-FFF2-40B4-BE49-F238E27FC236}">
                  <a16:creationId xmlns:a16="http://schemas.microsoft.com/office/drawing/2014/main" id="{209B8D78-DB8D-F228-E481-52A02C0C9519}"/>
                </a:ext>
              </a:extLst>
            </p:cNvPr>
            <p:cNvSpPr/>
            <p:nvPr/>
          </p:nvSpPr>
          <p:spPr>
            <a:xfrm>
              <a:off x="4594305" y="3155854"/>
              <a:ext cx="93474" cy="21138"/>
            </a:xfrm>
            <a:custGeom>
              <a:avLst/>
              <a:gdLst/>
              <a:ahLst/>
              <a:cxnLst/>
              <a:rect l="l" t="t" r="r" b="b"/>
              <a:pathLst>
                <a:path w="2693" h="609" extrusionOk="0">
                  <a:moveTo>
                    <a:pt x="2407" y="0"/>
                  </a:moveTo>
                  <a:lnTo>
                    <a:pt x="0" y="317"/>
                  </a:lnTo>
                  <a:lnTo>
                    <a:pt x="2407" y="602"/>
                  </a:lnTo>
                  <a:cubicBezTo>
                    <a:pt x="2428" y="606"/>
                    <a:pt x="2447" y="608"/>
                    <a:pt x="2467" y="608"/>
                  </a:cubicBezTo>
                  <a:cubicBezTo>
                    <a:pt x="2596" y="608"/>
                    <a:pt x="2692" y="518"/>
                    <a:pt x="2692" y="380"/>
                  </a:cubicBezTo>
                  <a:lnTo>
                    <a:pt x="2692" y="254"/>
                  </a:lnTo>
                  <a:cubicBezTo>
                    <a:pt x="2692" y="95"/>
                    <a:pt x="2565" y="0"/>
                    <a:pt x="2407" y="0"/>
                  </a:cubicBezTo>
                  <a:close/>
                </a:path>
              </a:pathLst>
            </a:custGeom>
            <a:solidFill>
              <a:srgbClr val="F2A36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2169;p24">
              <a:extLst>
                <a:ext uri="{FF2B5EF4-FFF2-40B4-BE49-F238E27FC236}">
                  <a16:creationId xmlns:a16="http://schemas.microsoft.com/office/drawing/2014/main" id="{94904E2B-4A21-E3DC-DDCF-2CE20189157B}"/>
                </a:ext>
              </a:extLst>
            </p:cNvPr>
            <p:cNvSpPr/>
            <p:nvPr/>
          </p:nvSpPr>
          <p:spPr>
            <a:xfrm>
              <a:off x="4529432" y="2947941"/>
              <a:ext cx="71503" cy="69455"/>
            </a:xfrm>
            <a:custGeom>
              <a:avLst/>
              <a:gdLst/>
              <a:ahLst/>
              <a:cxnLst/>
              <a:rect l="l" t="t" r="r" b="b"/>
              <a:pathLst>
                <a:path w="2060" h="2001" extrusionOk="0">
                  <a:moveTo>
                    <a:pt x="1695" y="1"/>
                  </a:moveTo>
                  <a:cubicBezTo>
                    <a:pt x="1618" y="1"/>
                    <a:pt x="1540" y="32"/>
                    <a:pt x="1489" y="100"/>
                  </a:cubicBezTo>
                  <a:lnTo>
                    <a:pt x="1" y="2000"/>
                  </a:lnTo>
                  <a:lnTo>
                    <a:pt x="1933" y="512"/>
                  </a:lnTo>
                  <a:cubicBezTo>
                    <a:pt x="2059" y="448"/>
                    <a:pt x="2059" y="258"/>
                    <a:pt x="1964" y="163"/>
                  </a:cubicBezTo>
                  <a:lnTo>
                    <a:pt x="1869" y="68"/>
                  </a:lnTo>
                  <a:cubicBezTo>
                    <a:pt x="1825" y="24"/>
                    <a:pt x="1761" y="1"/>
                    <a:pt x="1695" y="1"/>
                  </a:cubicBezTo>
                  <a:close/>
                </a:path>
              </a:pathLst>
            </a:custGeom>
            <a:solidFill>
              <a:srgbClr val="F2A36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2170;p24">
              <a:extLst>
                <a:ext uri="{FF2B5EF4-FFF2-40B4-BE49-F238E27FC236}">
                  <a16:creationId xmlns:a16="http://schemas.microsoft.com/office/drawing/2014/main" id="{0FD46E38-BF77-1896-DFDB-BDCF4DEAA0DF}"/>
                </a:ext>
              </a:extLst>
            </p:cNvPr>
            <p:cNvSpPr/>
            <p:nvPr/>
          </p:nvSpPr>
          <p:spPr>
            <a:xfrm>
              <a:off x="4322769" y="3077791"/>
              <a:ext cx="112183" cy="198992"/>
            </a:xfrm>
            <a:custGeom>
              <a:avLst/>
              <a:gdLst/>
              <a:ahLst/>
              <a:cxnLst/>
              <a:rect l="l" t="t" r="r" b="b"/>
              <a:pathLst>
                <a:path w="3232" h="5733" extrusionOk="0">
                  <a:moveTo>
                    <a:pt x="3136" y="1"/>
                  </a:moveTo>
                  <a:lnTo>
                    <a:pt x="603" y="2946"/>
                  </a:lnTo>
                  <a:lnTo>
                    <a:pt x="1521" y="3168"/>
                  </a:lnTo>
                  <a:lnTo>
                    <a:pt x="1" y="5733"/>
                  </a:lnTo>
                  <a:lnTo>
                    <a:pt x="3231" y="2851"/>
                  </a:lnTo>
                  <a:lnTo>
                    <a:pt x="1996" y="2471"/>
                  </a:lnTo>
                  <a:lnTo>
                    <a:pt x="3136" y="1"/>
                  </a:ln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5F30C7F7-5BD1-9FC3-5D89-DE9CBC8B2434}"/>
              </a:ext>
            </a:extLst>
          </p:cNvPr>
          <p:cNvGrpSpPr/>
          <p:nvPr/>
        </p:nvGrpSpPr>
        <p:grpSpPr>
          <a:xfrm>
            <a:off x="1134286" y="3173212"/>
            <a:ext cx="937108" cy="1082018"/>
            <a:chOff x="9758399" y="570444"/>
            <a:chExt cx="1293815" cy="1493884"/>
          </a:xfrm>
        </p:grpSpPr>
        <p:sp>
          <p:nvSpPr>
            <p:cNvPr id="15" name="Google Shape;2145;p24">
              <a:extLst>
                <a:ext uri="{FF2B5EF4-FFF2-40B4-BE49-F238E27FC236}">
                  <a16:creationId xmlns:a16="http://schemas.microsoft.com/office/drawing/2014/main" id="{78CE63CC-20A4-03DB-A81E-6BCEE377AA80}"/>
                </a:ext>
              </a:extLst>
            </p:cNvPr>
            <p:cNvSpPr/>
            <p:nvPr/>
          </p:nvSpPr>
          <p:spPr>
            <a:xfrm>
              <a:off x="9758399" y="570444"/>
              <a:ext cx="1293815" cy="1493884"/>
            </a:xfrm>
            <a:custGeom>
              <a:avLst/>
              <a:gdLst/>
              <a:ahLst/>
              <a:cxnLst/>
              <a:rect l="l" t="t" r="r" b="b"/>
              <a:pathLst>
                <a:path w="37275" h="43039" extrusionOk="0">
                  <a:moveTo>
                    <a:pt x="18621" y="476"/>
                  </a:moveTo>
                  <a:lnTo>
                    <a:pt x="36831" y="10990"/>
                  </a:lnTo>
                  <a:lnTo>
                    <a:pt x="36831" y="32018"/>
                  </a:lnTo>
                  <a:lnTo>
                    <a:pt x="18621" y="42532"/>
                  </a:lnTo>
                  <a:lnTo>
                    <a:pt x="412" y="32018"/>
                  </a:lnTo>
                  <a:lnTo>
                    <a:pt x="412" y="10990"/>
                  </a:lnTo>
                  <a:lnTo>
                    <a:pt x="18621" y="476"/>
                  </a:lnTo>
                  <a:close/>
                  <a:moveTo>
                    <a:pt x="18621" y="1"/>
                  </a:moveTo>
                  <a:lnTo>
                    <a:pt x="95" y="10705"/>
                  </a:lnTo>
                  <a:lnTo>
                    <a:pt x="0" y="10768"/>
                  </a:lnTo>
                  <a:lnTo>
                    <a:pt x="0" y="32271"/>
                  </a:lnTo>
                  <a:lnTo>
                    <a:pt x="18621" y="43039"/>
                  </a:lnTo>
                  <a:lnTo>
                    <a:pt x="37148" y="32335"/>
                  </a:lnTo>
                  <a:lnTo>
                    <a:pt x="37275" y="32271"/>
                  </a:lnTo>
                  <a:lnTo>
                    <a:pt x="37275" y="10768"/>
                  </a:lnTo>
                  <a:lnTo>
                    <a:pt x="18621" y="1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41" name="Google Shape;2171;p24">
              <a:extLst>
                <a:ext uri="{FF2B5EF4-FFF2-40B4-BE49-F238E27FC236}">
                  <a16:creationId xmlns:a16="http://schemas.microsoft.com/office/drawing/2014/main" id="{7649F729-9031-FE80-7467-6BFAFBD5DF71}"/>
                </a:ext>
              </a:extLst>
            </p:cNvPr>
            <p:cNvSpPr/>
            <p:nvPr/>
          </p:nvSpPr>
          <p:spPr>
            <a:xfrm>
              <a:off x="9838614" y="662808"/>
              <a:ext cx="1132275" cy="1308116"/>
            </a:xfrm>
            <a:custGeom>
              <a:avLst/>
              <a:gdLst/>
              <a:ahLst/>
              <a:cxnLst/>
              <a:rect l="l" t="t" r="r" b="b"/>
              <a:pathLst>
                <a:path w="32621" h="37687" extrusionOk="0">
                  <a:moveTo>
                    <a:pt x="16310" y="0"/>
                  </a:moveTo>
                  <a:lnTo>
                    <a:pt x="1" y="9437"/>
                  </a:lnTo>
                  <a:lnTo>
                    <a:pt x="1" y="28280"/>
                  </a:lnTo>
                  <a:lnTo>
                    <a:pt x="16310" y="37686"/>
                  </a:lnTo>
                  <a:lnTo>
                    <a:pt x="32620" y="28280"/>
                  </a:lnTo>
                  <a:lnTo>
                    <a:pt x="32620" y="9437"/>
                  </a:lnTo>
                  <a:lnTo>
                    <a:pt x="16310" y="0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2172;p24">
              <a:extLst>
                <a:ext uri="{FF2B5EF4-FFF2-40B4-BE49-F238E27FC236}">
                  <a16:creationId xmlns:a16="http://schemas.microsoft.com/office/drawing/2014/main" id="{3633DCA3-AE4E-E9A1-96B0-4E033FE6DF63}"/>
                </a:ext>
              </a:extLst>
            </p:cNvPr>
            <p:cNvSpPr/>
            <p:nvPr/>
          </p:nvSpPr>
          <p:spPr>
            <a:xfrm>
              <a:off x="9873810" y="703453"/>
              <a:ext cx="1061883" cy="1226790"/>
            </a:xfrm>
            <a:custGeom>
              <a:avLst/>
              <a:gdLst/>
              <a:ahLst/>
              <a:cxnLst/>
              <a:rect l="l" t="t" r="r" b="b"/>
              <a:pathLst>
                <a:path w="30593" h="35344" extrusionOk="0">
                  <a:moveTo>
                    <a:pt x="15296" y="1"/>
                  </a:moveTo>
                  <a:lnTo>
                    <a:pt x="0" y="8836"/>
                  </a:lnTo>
                  <a:lnTo>
                    <a:pt x="0" y="26508"/>
                  </a:lnTo>
                  <a:lnTo>
                    <a:pt x="15296" y="35343"/>
                  </a:lnTo>
                  <a:lnTo>
                    <a:pt x="30593" y="26508"/>
                  </a:lnTo>
                  <a:lnTo>
                    <a:pt x="30593" y="8836"/>
                  </a:lnTo>
                  <a:lnTo>
                    <a:pt x="15296" y="1"/>
                  </a:ln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2173;p24">
              <a:extLst>
                <a:ext uri="{FF2B5EF4-FFF2-40B4-BE49-F238E27FC236}">
                  <a16:creationId xmlns:a16="http://schemas.microsoft.com/office/drawing/2014/main" id="{0113BEA2-40CC-DB7A-1AB1-3388C1267B96}"/>
                </a:ext>
              </a:extLst>
            </p:cNvPr>
            <p:cNvSpPr/>
            <p:nvPr/>
          </p:nvSpPr>
          <p:spPr>
            <a:xfrm>
              <a:off x="10085957" y="1105777"/>
              <a:ext cx="426551" cy="373792"/>
            </a:xfrm>
            <a:custGeom>
              <a:avLst/>
              <a:gdLst/>
              <a:ahLst/>
              <a:cxnLst/>
              <a:rect l="l" t="t" r="r" b="b"/>
              <a:pathLst>
                <a:path w="12289" h="10769" extrusionOk="0">
                  <a:moveTo>
                    <a:pt x="4212" y="1"/>
                  </a:moveTo>
                  <a:cubicBezTo>
                    <a:pt x="2312" y="1"/>
                    <a:pt x="760" y="1552"/>
                    <a:pt x="760" y="3484"/>
                  </a:cubicBezTo>
                  <a:lnTo>
                    <a:pt x="760" y="5448"/>
                  </a:lnTo>
                  <a:cubicBezTo>
                    <a:pt x="760" y="6018"/>
                    <a:pt x="887" y="6588"/>
                    <a:pt x="1172" y="7126"/>
                  </a:cubicBezTo>
                  <a:lnTo>
                    <a:pt x="0" y="10768"/>
                  </a:lnTo>
                  <a:lnTo>
                    <a:pt x="3674" y="8868"/>
                  </a:lnTo>
                  <a:cubicBezTo>
                    <a:pt x="3864" y="8900"/>
                    <a:pt x="4054" y="8931"/>
                    <a:pt x="4212" y="8931"/>
                  </a:cubicBezTo>
                  <a:lnTo>
                    <a:pt x="6556" y="8931"/>
                  </a:lnTo>
                  <a:lnTo>
                    <a:pt x="6176" y="7950"/>
                  </a:lnTo>
                  <a:cubicBezTo>
                    <a:pt x="6081" y="7728"/>
                    <a:pt x="6018" y="7443"/>
                    <a:pt x="6018" y="7189"/>
                  </a:cubicBezTo>
                  <a:lnTo>
                    <a:pt x="6018" y="5226"/>
                  </a:lnTo>
                  <a:cubicBezTo>
                    <a:pt x="6018" y="4054"/>
                    <a:pt x="6936" y="3136"/>
                    <a:pt x="8108" y="3136"/>
                  </a:cubicBezTo>
                  <a:lnTo>
                    <a:pt x="12288" y="3136"/>
                  </a:lnTo>
                  <a:lnTo>
                    <a:pt x="11908" y="2186"/>
                  </a:lnTo>
                  <a:cubicBezTo>
                    <a:pt x="11370" y="856"/>
                    <a:pt x="10103" y="1"/>
                    <a:pt x="8678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2174;p24">
              <a:extLst>
                <a:ext uri="{FF2B5EF4-FFF2-40B4-BE49-F238E27FC236}">
                  <a16:creationId xmlns:a16="http://schemas.microsoft.com/office/drawing/2014/main" id="{AB0AC9CB-AE12-B686-F10A-16C49B0BD9C6}"/>
                </a:ext>
              </a:extLst>
            </p:cNvPr>
            <p:cNvSpPr/>
            <p:nvPr/>
          </p:nvSpPr>
          <p:spPr>
            <a:xfrm>
              <a:off x="10126637" y="1129969"/>
              <a:ext cx="349564" cy="302324"/>
            </a:xfrm>
            <a:custGeom>
              <a:avLst/>
              <a:gdLst/>
              <a:ahLst/>
              <a:cxnLst/>
              <a:rect l="l" t="t" r="r" b="b"/>
              <a:pathLst>
                <a:path w="10071" h="8710" extrusionOk="0">
                  <a:moveTo>
                    <a:pt x="3072" y="0"/>
                  </a:moveTo>
                  <a:cubicBezTo>
                    <a:pt x="1520" y="0"/>
                    <a:pt x="285" y="1235"/>
                    <a:pt x="285" y="2787"/>
                  </a:cubicBezTo>
                  <a:lnTo>
                    <a:pt x="285" y="4751"/>
                  </a:lnTo>
                  <a:cubicBezTo>
                    <a:pt x="285" y="5321"/>
                    <a:pt x="444" y="5859"/>
                    <a:pt x="760" y="6334"/>
                  </a:cubicBezTo>
                  <a:lnTo>
                    <a:pt x="0" y="8709"/>
                  </a:lnTo>
                  <a:lnTo>
                    <a:pt x="2407" y="7443"/>
                  </a:lnTo>
                  <a:cubicBezTo>
                    <a:pt x="2629" y="7506"/>
                    <a:pt x="2850" y="7538"/>
                    <a:pt x="3072" y="7538"/>
                  </a:cubicBezTo>
                  <a:lnTo>
                    <a:pt x="4339" y="7538"/>
                  </a:lnTo>
                  <a:cubicBezTo>
                    <a:pt x="4212" y="7221"/>
                    <a:pt x="4149" y="6841"/>
                    <a:pt x="4149" y="6492"/>
                  </a:cubicBezTo>
                  <a:lnTo>
                    <a:pt x="4149" y="4529"/>
                  </a:lnTo>
                  <a:cubicBezTo>
                    <a:pt x="4149" y="2977"/>
                    <a:pt x="5384" y="1742"/>
                    <a:pt x="6936" y="1742"/>
                  </a:cubicBezTo>
                  <a:lnTo>
                    <a:pt x="10071" y="1742"/>
                  </a:lnTo>
                  <a:cubicBezTo>
                    <a:pt x="9659" y="697"/>
                    <a:pt x="8678" y="0"/>
                    <a:pt x="7506" y="0"/>
                  </a:cubicBez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" name="Google Shape;2175;p24">
              <a:extLst>
                <a:ext uri="{FF2B5EF4-FFF2-40B4-BE49-F238E27FC236}">
                  <a16:creationId xmlns:a16="http://schemas.microsoft.com/office/drawing/2014/main" id="{4417EFBE-5D99-E1F0-20DD-20139D967373}"/>
                </a:ext>
              </a:extLst>
            </p:cNvPr>
            <p:cNvSpPr/>
            <p:nvPr/>
          </p:nvSpPr>
          <p:spPr>
            <a:xfrm>
              <a:off x="10275023" y="1182729"/>
              <a:ext cx="448523" cy="346302"/>
            </a:xfrm>
            <a:custGeom>
              <a:avLst/>
              <a:gdLst/>
              <a:ahLst/>
              <a:cxnLst/>
              <a:rect l="l" t="t" r="r" b="b"/>
              <a:pathLst>
                <a:path w="12922" h="9977" extrusionOk="0">
                  <a:moveTo>
                    <a:pt x="3484" y="0"/>
                  </a:moveTo>
                  <a:cubicBezTo>
                    <a:pt x="1552" y="0"/>
                    <a:pt x="1" y="1552"/>
                    <a:pt x="1" y="3484"/>
                  </a:cubicBezTo>
                  <a:lnTo>
                    <a:pt x="1" y="5447"/>
                  </a:lnTo>
                  <a:cubicBezTo>
                    <a:pt x="1" y="7348"/>
                    <a:pt x="1552" y="8931"/>
                    <a:pt x="3484" y="8931"/>
                  </a:cubicBezTo>
                  <a:lnTo>
                    <a:pt x="7918" y="8931"/>
                  </a:lnTo>
                  <a:cubicBezTo>
                    <a:pt x="8139" y="8931"/>
                    <a:pt x="8329" y="8899"/>
                    <a:pt x="8551" y="8868"/>
                  </a:cubicBezTo>
                  <a:lnTo>
                    <a:pt x="12921" y="9976"/>
                  </a:lnTo>
                  <a:lnTo>
                    <a:pt x="11021" y="6999"/>
                  </a:lnTo>
                  <a:cubicBezTo>
                    <a:pt x="11275" y="6524"/>
                    <a:pt x="11401" y="5986"/>
                    <a:pt x="11401" y="5447"/>
                  </a:cubicBezTo>
                  <a:lnTo>
                    <a:pt x="11401" y="3484"/>
                  </a:lnTo>
                  <a:cubicBezTo>
                    <a:pt x="11401" y="1552"/>
                    <a:pt x="9850" y="0"/>
                    <a:pt x="791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" name="Google Shape;2176;p24">
              <a:extLst>
                <a:ext uri="{FF2B5EF4-FFF2-40B4-BE49-F238E27FC236}">
                  <a16:creationId xmlns:a16="http://schemas.microsoft.com/office/drawing/2014/main" id="{245A066A-D511-F4F3-CF4A-39E5B0E65761}"/>
                </a:ext>
              </a:extLst>
            </p:cNvPr>
            <p:cNvSpPr/>
            <p:nvPr/>
          </p:nvSpPr>
          <p:spPr>
            <a:xfrm>
              <a:off x="10299215" y="1206922"/>
              <a:ext cx="370460" cy="283615"/>
            </a:xfrm>
            <a:custGeom>
              <a:avLst/>
              <a:gdLst/>
              <a:ahLst/>
              <a:cxnLst/>
              <a:rect l="l" t="t" r="r" b="b"/>
              <a:pathLst>
                <a:path w="10673" h="8171" extrusionOk="0">
                  <a:moveTo>
                    <a:pt x="2787" y="0"/>
                  </a:moveTo>
                  <a:cubicBezTo>
                    <a:pt x="1235" y="0"/>
                    <a:pt x="0" y="1235"/>
                    <a:pt x="0" y="2787"/>
                  </a:cubicBezTo>
                  <a:lnTo>
                    <a:pt x="0" y="4750"/>
                  </a:lnTo>
                  <a:cubicBezTo>
                    <a:pt x="0" y="6271"/>
                    <a:pt x="1235" y="7537"/>
                    <a:pt x="2787" y="7537"/>
                  </a:cubicBezTo>
                  <a:lnTo>
                    <a:pt x="7221" y="7537"/>
                  </a:lnTo>
                  <a:cubicBezTo>
                    <a:pt x="7442" y="7537"/>
                    <a:pt x="7664" y="7506"/>
                    <a:pt x="7854" y="7442"/>
                  </a:cubicBezTo>
                  <a:lnTo>
                    <a:pt x="10673" y="8171"/>
                  </a:lnTo>
                  <a:lnTo>
                    <a:pt x="9501" y="6334"/>
                  </a:lnTo>
                  <a:cubicBezTo>
                    <a:pt x="9818" y="5859"/>
                    <a:pt x="10008" y="5321"/>
                    <a:pt x="10008" y="4750"/>
                  </a:cubicBezTo>
                  <a:lnTo>
                    <a:pt x="10008" y="2787"/>
                  </a:lnTo>
                  <a:cubicBezTo>
                    <a:pt x="10008" y="1235"/>
                    <a:pt x="8773" y="0"/>
                    <a:pt x="7221" y="0"/>
                  </a:cubicBezTo>
                  <a:close/>
                </a:path>
              </a:pathLst>
            </a:custGeom>
            <a:solidFill>
              <a:srgbClr val="F2A36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7DFF6B10-AB99-1889-BEB2-7297EDCCB572}"/>
              </a:ext>
            </a:extLst>
          </p:cNvPr>
          <p:cNvGrpSpPr/>
          <p:nvPr/>
        </p:nvGrpSpPr>
        <p:grpSpPr>
          <a:xfrm>
            <a:off x="1091054" y="4750651"/>
            <a:ext cx="998296" cy="1152667"/>
            <a:chOff x="7892406" y="3012396"/>
            <a:chExt cx="1293815" cy="1493884"/>
          </a:xfrm>
        </p:grpSpPr>
        <p:sp>
          <p:nvSpPr>
            <p:cNvPr id="48" name="Google Shape;2178;p24">
              <a:extLst>
                <a:ext uri="{FF2B5EF4-FFF2-40B4-BE49-F238E27FC236}">
                  <a16:creationId xmlns:a16="http://schemas.microsoft.com/office/drawing/2014/main" id="{09050B22-A97B-BD56-C3F6-D74CC755347F}"/>
                </a:ext>
              </a:extLst>
            </p:cNvPr>
            <p:cNvSpPr/>
            <p:nvPr/>
          </p:nvSpPr>
          <p:spPr>
            <a:xfrm>
              <a:off x="7892406" y="3012396"/>
              <a:ext cx="1293815" cy="1493884"/>
            </a:xfrm>
            <a:custGeom>
              <a:avLst/>
              <a:gdLst/>
              <a:ahLst/>
              <a:cxnLst/>
              <a:rect l="l" t="t" r="r" b="b"/>
              <a:pathLst>
                <a:path w="37275" h="43039" extrusionOk="0">
                  <a:moveTo>
                    <a:pt x="18653" y="476"/>
                  </a:moveTo>
                  <a:lnTo>
                    <a:pt x="36831" y="10990"/>
                  </a:lnTo>
                  <a:lnTo>
                    <a:pt x="36831" y="32018"/>
                  </a:lnTo>
                  <a:lnTo>
                    <a:pt x="18653" y="42532"/>
                  </a:lnTo>
                  <a:lnTo>
                    <a:pt x="443" y="32018"/>
                  </a:lnTo>
                  <a:lnTo>
                    <a:pt x="443" y="10990"/>
                  </a:lnTo>
                  <a:lnTo>
                    <a:pt x="18653" y="476"/>
                  </a:lnTo>
                  <a:close/>
                  <a:moveTo>
                    <a:pt x="18653" y="0"/>
                  </a:moveTo>
                  <a:lnTo>
                    <a:pt x="0" y="10736"/>
                  </a:lnTo>
                  <a:lnTo>
                    <a:pt x="0" y="32271"/>
                  </a:lnTo>
                  <a:lnTo>
                    <a:pt x="18653" y="43039"/>
                  </a:lnTo>
                  <a:lnTo>
                    <a:pt x="37180" y="32334"/>
                  </a:lnTo>
                  <a:lnTo>
                    <a:pt x="37275" y="32271"/>
                  </a:lnTo>
                  <a:lnTo>
                    <a:pt x="37275" y="10736"/>
                  </a:lnTo>
                  <a:lnTo>
                    <a:pt x="18653" y="0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50" name="Google Shape;2180;p24">
              <a:extLst>
                <a:ext uri="{FF2B5EF4-FFF2-40B4-BE49-F238E27FC236}">
                  <a16:creationId xmlns:a16="http://schemas.microsoft.com/office/drawing/2014/main" id="{C6E561B1-9C05-2FDD-2458-9B91C5D5461F}"/>
                </a:ext>
              </a:extLst>
            </p:cNvPr>
            <p:cNvSpPr/>
            <p:nvPr/>
          </p:nvSpPr>
          <p:spPr>
            <a:xfrm>
              <a:off x="7972621" y="3104725"/>
              <a:ext cx="1133351" cy="1308116"/>
            </a:xfrm>
            <a:custGeom>
              <a:avLst/>
              <a:gdLst/>
              <a:ahLst/>
              <a:cxnLst/>
              <a:rect l="l" t="t" r="r" b="b"/>
              <a:pathLst>
                <a:path w="32652" h="37687" extrusionOk="0">
                  <a:moveTo>
                    <a:pt x="1" y="9438"/>
                  </a:moveTo>
                  <a:lnTo>
                    <a:pt x="1" y="28281"/>
                  </a:lnTo>
                  <a:lnTo>
                    <a:pt x="16342" y="37687"/>
                  </a:lnTo>
                  <a:lnTo>
                    <a:pt x="32652" y="28281"/>
                  </a:lnTo>
                  <a:lnTo>
                    <a:pt x="32652" y="9438"/>
                  </a:lnTo>
                  <a:lnTo>
                    <a:pt x="16342" y="1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2181;p24">
              <a:extLst>
                <a:ext uri="{FF2B5EF4-FFF2-40B4-BE49-F238E27FC236}">
                  <a16:creationId xmlns:a16="http://schemas.microsoft.com/office/drawing/2014/main" id="{080DF399-1802-97C2-6EB2-BE323B5D0833}"/>
                </a:ext>
              </a:extLst>
            </p:cNvPr>
            <p:cNvSpPr/>
            <p:nvPr/>
          </p:nvSpPr>
          <p:spPr>
            <a:xfrm>
              <a:off x="7971426" y="3145403"/>
              <a:ext cx="1062995" cy="1226757"/>
            </a:xfrm>
            <a:custGeom>
              <a:avLst/>
              <a:gdLst/>
              <a:ahLst/>
              <a:cxnLst/>
              <a:rect l="l" t="t" r="r" b="b"/>
              <a:pathLst>
                <a:path w="30625" h="35343" extrusionOk="0">
                  <a:moveTo>
                    <a:pt x="15328" y="0"/>
                  </a:moveTo>
                  <a:lnTo>
                    <a:pt x="0" y="8836"/>
                  </a:lnTo>
                  <a:lnTo>
                    <a:pt x="0" y="26507"/>
                  </a:lnTo>
                  <a:lnTo>
                    <a:pt x="15328" y="35343"/>
                  </a:lnTo>
                  <a:lnTo>
                    <a:pt x="30624" y="26507"/>
                  </a:lnTo>
                  <a:lnTo>
                    <a:pt x="30624" y="8836"/>
                  </a:lnTo>
                  <a:lnTo>
                    <a:pt x="15328" y="0"/>
                  </a:ln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52" name="Google Shape;2182;p24">
              <a:extLst>
                <a:ext uri="{FF2B5EF4-FFF2-40B4-BE49-F238E27FC236}">
                  <a16:creationId xmlns:a16="http://schemas.microsoft.com/office/drawing/2014/main" id="{84EB442C-31DC-0CC6-56E9-1DF0B0E65129}"/>
                </a:ext>
              </a:extLst>
            </p:cNvPr>
            <p:cNvSpPr/>
            <p:nvPr/>
          </p:nvSpPr>
          <p:spPr>
            <a:xfrm>
              <a:off x="8269426" y="3488375"/>
              <a:ext cx="539775" cy="540851"/>
            </a:xfrm>
            <a:custGeom>
              <a:avLst/>
              <a:gdLst/>
              <a:ahLst/>
              <a:cxnLst/>
              <a:rect l="l" t="t" r="r" b="b"/>
              <a:pathLst>
                <a:path w="15551" h="15582" extrusionOk="0">
                  <a:moveTo>
                    <a:pt x="6556" y="0"/>
                  </a:moveTo>
                  <a:cubicBezTo>
                    <a:pt x="5954" y="0"/>
                    <a:pt x="5479" y="507"/>
                    <a:pt x="5479" y="1077"/>
                  </a:cubicBezTo>
                  <a:lnTo>
                    <a:pt x="5479" y="2249"/>
                  </a:lnTo>
                  <a:lnTo>
                    <a:pt x="4656" y="1425"/>
                  </a:lnTo>
                  <a:cubicBezTo>
                    <a:pt x="4434" y="1204"/>
                    <a:pt x="4181" y="1109"/>
                    <a:pt x="3896" y="1109"/>
                  </a:cubicBezTo>
                  <a:cubicBezTo>
                    <a:pt x="3611" y="1109"/>
                    <a:pt x="3326" y="1204"/>
                    <a:pt x="3136" y="1425"/>
                  </a:cubicBezTo>
                  <a:lnTo>
                    <a:pt x="1394" y="3167"/>
                  </a:lnTo>
                  <a:cubicBezTo>
                    <a:pt x="982" y="3579"/>
                    <a:pt x="982" y="4244"/>
                    <a:pt x="1394" y="4655"/>
                  </a:cubicBezTo>
                  <a:lnTo>
                    <a:pt x="2217" y="5479"/>
                  </a:lnTo>
                  <a:lnTo>
                    <a:pt x="1046" y="5479"/>
                  </a:lnTo>
                  <a:cubicBezTo>
                    <a:pt x="476" y="5479"/>
                    <a:pt x="1" y="5986"/>
                    <a:pt x="1" y="6556"/>
                  </a:cubicBezTo>
                  <a:lnTo>
                    <a:pt x="1" y="9026"/>
                  </a:lnTo>
                  <a:cubicBezTo>
                    <a:pt x="1" y="9596"/>
                    <a:pt x="476" y="10071"/>
                    <a:pt x="1046" y="10071"/>
                  </a:cubicBezTo>
                  <a:lnTo>
                    <a:pt x="2217" y="10071"/>
                  </a:lnTo>
                  <a:lnTo>
                    <a:pt x="1394" y="10926"/>
                  </a:lnTo>
                  <a:cubicBezTo>
                    <a:pt x="982" y="11338"/>
                    <a:pt x="982" y="12003"/>
                    <a:pt x="1394" y="12414"/>
                  </a:cubicBezTo>
                  <a:lnTo>
                    <a:pt x="3136" y="14156"/>
                  </a:lnTo>
                  <a:cubicBezTo>
                    <a:pt x="3326" y="14378"/>
                    <a:pt x="3611" y="14473"/>
                    <a:pt x="3896" y="14473"/>
                  </a:cubicBezTo>
                  <a:cubicBezTo>
                    <a:pt x="4181" y="14473"/>
                    <a:pt x="4434" y="14378"/>
                    <a:pt x="4656" y="14156"/>
                  </a:cubicBezTo>
                  <a:lnTo>
                    <a:pt x="5479" y="13333"/>
                  </a:lnTo>
                  <a:lnTo>
                    <a:pt x="5479" y="14504"/>
                  </a:lnTo>
                  <a:cubicBezTo>
                    <a:pt x="5479" y="15075"/>
                    <a:pt x="5954" y="15581"/>
                    <a:pt x="6556" y="15581"/>
                  </a:cubicBezTo>
                  <a:lnTo>
                    <a:pt x="8995" y="15581"/>
                  </a:lnTo>
                  <a:cubicBezTo>
                    <a:pt x="9596" y="15581"/>
                    <a:pt x="10071" y="15075"/>
                    <a:pt x="10071" y="14504"/>
                  </a:cubicBezTo>
                  <a:lnTo>
                    <a:pt x="10071" y="13333"/>
                  </a:lnTo>
                  <a:lnTo>
                    <a:pt x="10895" y="14156"/>
                  </a:lnTo>
                  <a:cubicBezTo>
                    <a:pt x="11116" y="14378"/>
                    <a:pt x="11370" y="14473"/>
                    <a:pt x="11655" y="14473"/>
                  </a:cubicBezTo>
                  <a:cubicBezTo>
                    <a:pt x="11940" y="14473"/>
                    <a:pt x="12225" y="14378"/>
                    <a:pt x="12415" y="14156"/>
                  </a:cubicBezTo>
                  <a:lnTo>
                    <a:pt x="14157" y="12414"/>
                  </a:lnTo>
                  <a:cubicBezTo>
                    <a:pt x="14568" y="12003"/>
                    <a:pt x="14568" y="11338"/>
                    <a:pt x="14157" y="10926"/>
                  </a:cubicBezTo>
                  <a:lnTo>
                    <a:pt x="13333" y="10102"/>
                  </a:lnTo>
                  <a:lnTo>
                    <a:pt x="14505" y="10102"/>
                  </a:lnTo>
                  <a:cubicBezTo>
                    <a:pt x="15075" y="10102"/>
                    <a:pt x="15550" y="9596"/>
                    <a:pt x="15550" y="9026"/>
                  </a:cubicBezTo>
                  <a:lnTo>
                    <a:pt x="15550" y="6556"/>
                  </a:lnTo>
                  <a:cubicBezTo>
                    <a:pt x="15550" y="5986"/>
                    <a:pt x="15075" y="5510"/>
                    <a:pt x="14505" y="5510"/>
                  </a:cubicBezTo>
                  <a:lnTo>
                    <a:pt x="13333" y="5510"/>
                  </a:lnTo>
                  <a:lnTo>
                    <a:pt x="14157" y="4655"/>
                  </a:lnTo>
                  <a:cubicBezTo>
                    <a:pt x="14568" y="4275"/>
                    <a:pt x="14568" y="3579"/>
                    <a:pt x="14157" y="3167"/>
                  </a:cubicBezTo>
                  <a:lnTo>
                    <a:pt x="12415" y="1425"/>
                  </a:lnTo>
                  <a:cubicBezTo>
                    <a:pt x="12225" y="1235"/>
                    <a:pt x="11940" y="1109"/>
                    <a:pt x="11655" y="1109"/>
                  </a:cubicBezTo>
                  <a:cubicBezTo>
                    <a:pt x="11370" y="1109"/>
                    <a:pt x="11116" y="1235"/>
                    <a:pt x="10895" y="1425"/>
                  </a:cubicBezTo>
                  <a:lnTo>
                    <a:pt x="10071" y="2249"/>
                  </a:lnTo>
                  <a:lnTo>
                    <a:pt x="10071" y="1077"/>
                  </a:lnTo>
                  <a:cubicBezTo>
                    <a:pt x="10071" y="507"/>
                    <a:pt x="9596" y="0"/>
                    <a:pt x="899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" name="Google Shape;2183;p24">
              <a:extLst>
                <a:ext uri="{FF2B5EF4-FFF2-40B4-BE49-F238E27FC236}">
                  <a16:creationId xmlns:a16="http://schemas.microsoft.com/office/drawing/2014/main" id="{5D0134D9-15D2-112E-7A56-FD53F7EE9E2F}"/>
                </a:ext>
              </a:extLst>
            </p:cNvPr>
            <p:cNvSpPr/>
            <p:nvPr/>
          </p:nvSpPr>
          <p:spPr>
            <a:xfrm>
              <a:off x="8294695" y="3513643"/>
              <a:ext cx="489203" cy="490279"/>
            </a:xfrm>
            <a:custGeom>
              <a:avLst/>
              <a:gdLst/>
              <a:ahLst/>
              <a:cxnLst/>
              <a:rect l="l" t="t" r="r" b="b"/>
              <a:pathLst>
                <a:path w="14094" h="14125" extrusionOk="0">
                  <a:moveTo>
                    <a:pt x="7982" y="634"/>
                  </a:moveTo>
                  <a:lnTo>
                    <a:pt x="7982" y="1774"/>
                  </a:lnTo>
                  <a:cubicBezTo>
                    <a:pt x="7982" y="2186"/>
                    <a:pt x="8235" y="2566"/>
                    <a:pt x="8647" y="2692"/>
                  </a:cubicBezTo>
                  <a:cubicBezTo>
                    <a:pt x="8773" y="2724"/>
                    <a:pt x="8900" y="2787"/>
                    <a:pt x="9027" y="2851"/>
                  </a:cubicBezTo>
                  <a:cubicBezTo>
                    <a:pt x="9153" y="2914"/>
                    <a:pt x="9280" y="2946"/>
                    <a:pt x="9438" y="2946"/>
                  </a:cubicBezTo>
                  <a:cubicBezTo>
                    <a:pt x="9692" y="2946"/>
                    <a:pt x="9945" y="2851"/>
                    <a:pt x="10103" y="2661"/>
                  </a:cubicBezTo>
                  <a:lnTo>
                    <a:pt x="10927" y="1837"/>
                  </a:lnTo>
                  <a:lnTo>
                    <a:pt x="12257" y="3199"/>
                  </a:lnTo>
                  <a:lnTo>
                    <a:pt x="11433" y="3991"/>
                  </a:lnTo>
                  <a:cubicBezTo>
                    <a:pt x="11148" y="4276"/>
                    <a:pt x="11085" y="4719"/>
                    <a:pt x="11275" y="5099"/>
                  </a:cubicBezTo>
                  <a:cubicBezTo>
                    <a:pt x="11307" y="5226"/>
                    <a:pt x="11370" y="5353"/>
                    <a:pt x="11433" y="5479"/>
                  </a:cubicBezTo>
                  <a:cubicBezTo>
                    <a:pt x="11560" y="5859"/>
                    <a:pt x="11940" y="6113"/>
                    <a:pt x="12320" y="6113"/>
                  </a:cubicBezTo>
                  <a:lnTo>
                    <a:pt x="13492" y="6113"/>
                  </a:lnTo>
                  <a:lnTo>
                    <a:pt x="13460" y="8013"/>
                  </a:lnTo>
                  <a:lnTo>
                    <a:pt x="12320" y="8013"/>
                  </a:lnTo>
                  <a:cubicBezTo>
                    <a:pt x="11940" y="8013"/>
                    <a:pt x="11560" y="8266"/>
                    <a:pt x="11433" y="8646"/>
                  </a:cubicBezTo>
                  <a:cubicBezTo>
                    <a:pt x="11370" y="8773"/>
                    <a:pt x="11307" y="8931"/>
                    <a:pt x="11275" y="9026"/>
                  </a:cubicBezTo>
                  <a:cubicBezTo>
                    <a:pt x="11085" y="9406"/>
                    <a:pt x="11148" y="9850"/>
                    <a:pt x="11433" y="10135"/>
                  </a:cubicBezTo>
                  <a:lnTo>
                    <a:pt x="12257" y="10958"/>
                  </a:lnTo>
                  <a:lnTo>
                    <a:pt x="10927" y="12288"/>
                  </a:lnTo>
                  <a:lnTo>
                    <a:pt x="10103" y="11465"/>
                  </a:lnTo>
                  <a:cubicBezTo>
                    <a:pt x="9945" y="11275"/>
                    <a:pt x="9692" y="11180"/>
                    <a:pt x="9438" y="11180"/>
                  </a:cubicBezTo>
                  <a:cubicBezTo>
                    <a:pt x="9280" y="11180"/>
                    <a:pt x="9153" y="11211"/>
                    <a:pt x="9027" y="11275"/>
                  </a:cubicBezTo>
                  <a:cubicBezTo>
                    <a:pt x="8900" y="11338"/>
                    <a:pt x="8773" y="11401"/>
                    <a:pt x="8647" y="11433"/>
                  </a:cubicBezTo>
                  <a:cubicBezTo>
                    <a:pt x="8235" y="11591"/>
                    <a:pt x="7982" y="11940"/>
                    <a:pt x="7982" y="12351"/>
                  </a:cubicBezTo>
                  <a:lnTo>
                    <a:pt x="7982" y="13491"/>
                  </a:lnTo>
                  <a:lnTo>
                    <a:pt x="6113" y="13491"/>
                  </a:lnTo>
                  <a:lnTo>
                    <a:pt x="6113" y="12351"/>
                  </a:lnTo>
                  <a:cubicBezTo>
                    <a:pt x="6113" y="11940"/>
                    <a:pt x="5860" y="11591"/>
                    <a:pt x="5480" y="11433"/>
                  </a:cubicBezTo>
                  <a:cubicBezTo>
                    <a:pt x="5321" y="11401"/>
                    <a:pt x="5195" y="11338"/>
                    <a:pt x="5068" y="11275"/>
                  </a:cubicBezTo>
                  <a:cubicBezTo>
                    <a:pt x="4941" y="11211"/>
                    <a:pt x="4815" y="11180"/>
                    <a:pt x="4656" y="11180"/>
                  </a:cubicBezTo>
                  <a:cubicBezTo>
                    <a:pt x="4403" y="11180"/>
                    <a:pt x="4181" y="11275"/>
                    <a:pt x="3991" y="11465"/>
                  </a:cubicBezTo>
                  <a:lnTo>
                    <a:pt x="3168" y="12288"/>
                  </a:lnTo>
                  <a:lnTo>
                    <a:pt x="1838" y="10958"/>
                  </a:lnTo>
                  <a:lnTo>
                    <a:pt x="2661" y="10135"/>
                  </a:lnTo>
                  <a:cubicBezTo>
                    <a:pt x="2946" y="9850"/>
                    <a:pt x="3009" y="9406"/>
                    <a:pt x="2851" y="9026"/>
                  </a:cubicBezTo>
                  <a:cubicBezTo>
                    <a:pt x="2788" y="8899"/>
                    <a:pt x="2724" y="8773"/>
                    <a:pt x="2693" y="8646"/>
                  </a:cubicBezTo>
                  <a:cubicBezTo>
                    <a:pt x="2534" y="8266"/>
                    <a:pt x="2186" y="8013"/>
                    <a:pt x="1774" y="8013"/>
                  </a:cubicBezTo>
                  <a:lnTo>
                    <a:pt x="634" y="8013"/>
                  </a:lnTo>
                  <a:lnTo>
                    <a:pt x="634" y="6113"/>
                  </a:lnTo>
                  <a:lnTo>
                    <a:pt x="1774" y="6113"/>
                  </a:lnTo>
                  <a:cubicBezTo>
                    <a:pt x="2186" y="6113"/>
                    <a:pt x="2534" y="5859"/>
                    <a:pt x="2693" y="5479"/>
                  </a:cubicBezTo>
                  <a:cubicBezTo>
                    <a:pt x="2724" y="5353"/>
                    <a:pt x="2788" y="5226"/>
                    <a:pt x="2851" y="5099"/>
                  </a:cubicBezTo>
                  <a:cubicBezTo>
                    <a:pt x="3009" y="4719"/>
                    <a:pt x="2946" y="4276"/>
                    <a:pt x="2661" y="3991"/>
                  </a:cubicBezTo>
                  <a:lnTo>
                    <a:pt x="1838" y="3199"/>
                  </a:lnTo>
                  <a:lnTo>
                    <a:pt x="3168" y="1837"/>
                  </a:lnTo>
                  <a:lnTo>
                    <a:pt x="3991" y="2661"/>
                  </a:lnTo>
                  <a:cubicBezTo>
                    <a:pt x="4181" y="2851"/>
                    <a:pt x="4403" y="2946"/>
                    <a:pt x="4656" y="2946"/>
                  </a:cubicBezTo>
                  <a:cubicBezTo>
                    <a:pt x="4815" y="2946"/>
                    <a:pt x="4941" y="2914"/>
                    <a:pt x="5068" y="2851"/>
                  </a:cubicBezTo>
                  <a:cubicBezTo>
                    <a:pt x="5195" y="2787"/>
                    <a:pt x="5321" y="2724"/>
                    <a:pt x="5480" y="2692"/>
                  </a:cubicBezTo>
                  <a:cubicBezTo>
                    <a:pt x="5860" y="2566"/>
                    <a:pt x="6113" y="2186"/>
                    <a:pt x="6113" y="1774"/>
                  </a:cubicBezTo>
                  <a:lnTo>
                    <a:pt x="6113" y="634"/>
                  </a:lnTo>
                  <a:close/>
                  <a:moveTo>
                    <a:pt x="5828" y="0"/>
                  </a:moveTo>
                  <a:cubicBezTo>
                    <a:pt x="5638" y="0"/>
                    <a:pt x="5480" y="159"/>
                    <a:pt x="5480" y="349"/>
                  </a:cubicBezTo>
                  <a:lnTo>
                    <a:pt x="5480" y="1774"/>
                  </a:lnTo>
                  <a:cubicBezTo>
                    <a:pt x="5480" y="1932"/>
                    <a:pt x="5385" y="2059"/>
                    <a:pt x="5258" y="2091"/>
                  </a:cubicBezTo>
                  <a:cubicBezTo>
                    <a:pt x="5100" y="2154"/>
                    <a:pt x="4941" y="2217"/>
                    <a:pt x="4815" y="2281"/>
                  </a:cubicBezTo>
                  <a:cubicBezTo>
                    <a:pt x="4770" y="2303"/>
                    <a:pt x="4721" y="2314"/>
                    <a:pt x="4672" y="2314"/>
                  </a:cubicBezTo>
                  <a:cubicBezTo>
                    <a:pt x="4584" y="2314"/>
                    <a:pt x="4496" y="2279"/>
                    <a:pt x="4435" y="2217"/>
                  </a:cubicBezTo>
                  <a:lnTo>
                    <a:pt x="3390" y="1204"/>
                  </a:lnTo>
                  <a:cubicBezTo>
                    <a:pt x="3326" y="1141"/>
                    <a:pt x="3247" y="1109"/>
                    <a:pt x="3164" y="1109"/>
                  </a:cubicBezTo>
                  <a:cubicBezTo>
                    <a:pt x="3081" y="1109"/>
                    <a:pt x="2994" y="1141"/>
                    <a:pt x="2914" y="1204"/>
                  </a:cubicBezTo>
                  <a:lnTo>
                    <a:pt x="1173" y="2946"/>
                  </a:lnTo>
                  <a:cubicBezTo>
                    <a:pt x="1046" y="3072"/>
                    <a:pt x="1046" y="3294"/>
                    <a:pt x="1173" y="3421"/>
                  </a:cubicBezTo>
                  <a:lnTo>
                    <a:pt x="2218" y="4434"/>
                  </a:lnTo>
                  <a:cubicBezTo>
                    <a:pt x="2313" y="4529"/>
                    <a:pt x="2344" y="4687"/>
                    <a:pt x="2281" y="4814"/>
                  </a:cubicBezTo>
                  <a:cubicBezTo>
                    <a:pt x="2186" y="4973"/>
                    <a:pt x="2154" y="5131"/>
                    <a:pt x="2091" y="5258"/>
                  </a:cubicBezTo>
                  <a:cubicBezTo>
                    <a:pt x="2028" y="5416"/>
                    <a:pt x="1901" y="5511"/>
                    <a:pt x="1774" y="5511"/>
                  </a:cubicBezTo>
                  <a:lnTo>
                    <a:pt x="318" y="5511"/>
                  </a:lnTo>
                  <a:cubicBezTo>
                    <a:pt x="159" y="5511"/>
                    <a:pt x="1" y="5638"/>
                    <a:pt x="1" y="5828"/>
                  </a:cubicBezTo>
                  <a:lnTo>
                    <a:pt x="1" y="8298"/>
                  </a:lnTo>
                  <a:cubicBezTo>
                    <a:pt x="1" y="8488"/>
                    <a:pt x="128" y="8646"/>
                    <a:pt x="318" y="8646"/>
                  </a:cubicBezTo>
                  <a:lnTo>
                    <a:pt x="1774" y="8646"/>
                  </a:lnTo>
                  <a:cubicBezTo>
                    <a:pt x="1901" y="8646"/>
                    <a:pt x="2028" y="8709"/>
                    <a:pt x="2091" y="8868"/>
                  </a:cubicBezTo>
                  <a:cubicBezTo>
                    <a:pt x="2123" y="9026"/>
                    <a:pt x="2186" y="9153"/>
                    <a:pt x="2281" y="9311"/>
                  </a:cubicBezTo>
                  <a:cubicBezTo>
                    <a:pt x="2344" y="9438"/>
                    <a:pt x="2313" y="9596"/>
                    <a:pt x="2218" y="9691"/>
                  </a:cubicBezTo>
                  <a:lnTo>
                    <a:pt x="1173" y="10705"/>
                  </a:lnTo>
                  <a:cubicBezTo>
                    <a:pt x="1046" y="10831"/>
                    <a:pt x="1046" y="11053"/>
                    <a:pt x="1173" y="11180"/>
                  </a:cubicBezTo>
                  <a:lnTo>
                    <a:pt x="2914" y="12921"/>
                  </a:lnTo>
                  <a:cubicBezTo>
                    <a:pt x="2994" y="12985"/>
                    <a:pt x="3081" y="13016"/>
                    <a:pt x="3164" y="13016"/>
                  </a:cubicBezTo>
                  <a:cubicBezTo>
                    <a:pt x="3247" y="13016"/>
                    <a:pt x="3326" y="12985"/>
                    <a:pt x="3390" y="12921"/>
                  </a:cubicBezTo>
                  <a:lnTo>
                    <a:pt x="4435" y="11908"/>
                  </a:lnTo>
                  <a:cubicBezTo>
                    <a:pt x="4496" y="11847"/>
                    <a:pt x="4584" y="11812"/>
                    <a:pt x="4672" y="11812"/>
                  </a:cubicBezTo>
                  <a:cubicBezTo>
                    <a:pt x="4721" y="11812"/>
                    <a:pt x="4770" y="11822"/>
                    <a:pt x="4815" y="11845"/>
                  </a:cubicBezTo>
                  <a:cubicBezTo>
                    <a:pt x="4941" y="11908"/>
                    <a:pt x="5100" y="11971"/>
                    <a:pt x="5258" y="12035"/>
                  </a:cubicBezTo>
                  <a:cubicBezTo>
                    <a:pt x="5385" y="12066"/>
                    <a:pt x="5480" y="12193"/>
                    <a:pt x="5480" y="12351"/>
                  </a:cubicBezTo>
                  <a:lnTo>
                    <a:pt x="5480" y="13776"/>
                  </a:lnTo>
                  <a:cubicBezTo>
                    <a:pt x="5480" y="13966"/>
                    <a:pt x="5638" y="14125"/>
                    <a:pt x="5828" y="14125"/>
                  </a:cubicBezTo>
                  <a:lnTo>
                    <a:pt x="8267" y="14125"/>
                  </a:lnTo>
                  <a:cubicBezTo>
                    <a:pt x="8457" y="14125"/>
                    <a:pt x="8615" y="13966"/>
                    <a:pt x="8615" y="13776"/>
                  </a:cubicBezTo>
                  <a:lnTo>
                    <a:pt x="8615" y="12351"/>
                  </a:lnTo>
                  <a:cubicBezTo>
                    <a:pt x="8615" y="12193"/>
                    <a:pt x="8710" y="12066"/>
                    <a:pt x="8837" y="12035"/>
                  </a:cubicBezTo>
                  <a:cubicBezTo>
                    <a:pt x="8995" y="11971"/>
                    <a:pt x="9153" y="11908"/>
                    <a:pt x="9280" y="11845"/>
                  </a:cubicBezTo>
                  <a:cubicBezTo>
                    <a:pt x="9325" y="11822"/>
                    <a:pt x="9374" y="11812"/>
                    <a:pt x="9422" y="11812"/>
                  </a:cubicBezTo>
                  <a:cubicBezTo>
                    <a:pt x="9511" y="11812"/>
                    <a:pt x="9599" y="11847"/>
                    <a:pt x="9660" y="11908"/>
                  </a:cubicBezTo>
                  <a:lnTo>
                    <a:pt x="10705" y="12921"/>
                  </a:lnTo>
                  <a:cubicBezTo>
                    <a:pt x="10768" y="12985"/>
                    <a:pt x="10848" y="13016"/>
                    <a:pt x="10931" y="13016"/>
                  </a:cubicBezTo>
                  <a:cubicBezTo>
                    <a:pt x="11014" y="13016"/>
                    <a:pt x="11101" y="12985"/>
                    <a:pt x="11180" y="12921"/>
                  </a:cubicBezTo>
                  <a:lnTo>
                    <a:pt x="12890" y="11180"/>
                  </a:lnTo>
                  <a:cubicBezTo>
                    <a:pt x="13017" y="11053"/>
                    <a:pt x="13017" y="10831"/>
                    <a:pt x="12890" y="10705"/>
                  </a:cubicBezTo>
                  <a:lnTo>
                    <a:pt x="11877" y="9691"/>
                  </a:lnTo>
                  <a:cubicBezTo>
                    <a:pt x="11782" y="9596"/>
                    <a:pt x="11750" y="9438"/>
                    <a:pt x="11813" y="9311"/>
                  </a:cubicBezTo>
                  <a:cubicBezTo>
                    <a:pt x="11877" y="9153"/>
                    <a:pt x="11940" y="9026"/>
                    <a:pt x="12004" y="8868"/>
                  </a:cubicBezTo>
                  <a:cubicBezTo>
                    <a:pt x="12067" y="8741"/>
                    <a:pt x="12194" y="8646"/>
                    <a:pt x="12320" y="8646"/>
                  </a:cubicBezTo>
                  <a:lnTo>
                    <a:pt x="13777" y="8646"/>
                  </a:lnTo>
                  <a:cubicBezTo>
                    <a:pt x="13935" y="8646"/>
                    <a:pt x="14094" y="8488"/>
                    <a:pt x="14094" y="8298"/>
                  </a:cubicBezTo>
                  <a:lnTo>
                    <a:pt x="14094" y="5828"/>
                  </a:lnTo>
                  <a:cubicBezTo>
                    <a:pt x="14094" y="5638"/>
                    <a:pt x="13967" y="5511"/>
                    <a:pt x="13777" y="5511"/>
                  </a:cubicBezTo>
                  <a:lnTo>
                    <a:pt x="12320" y="5511"/>
                  </a:lnTo>
                  <a:cubicBezTo>
                    <a:pt x="12194" y="5511"/>
                    <a:pt x="12067" y="5416"/>
                    <a:pt x="12004" y="5258"/>
                  </a:cubicBezTo>
                  <a:cubicBezTo>
                    <a:pt x="11972" y="5131"/>
                    <a:pt x="11908" y="4973"/>
                    <a:pt x="11813" y="4814"/>
                  </a:cubicBezTo>
                  <a:cubicBezTo>
                    <a:pt x="11750" y="4687"/>
                    <a:pt x="11782" y="4529"/>
                    <a:pt x="11877" y="4434"/>
                  </a:cubicBezTo>
                  <a:lnTo>
                    <a:pt x="12890" y="3421"/>
                  </a:lnTo>
                  <a:cubicBezTo>
                    <a:pt x="13017" y="3294"/>
                    <a:pt x="13017" y="3072"/>
                    <a:pt x="12890" y="2946"/>
                  </a:cubicBezTo>
                  <a:lnTo>
                    <a:pt x="11180" y="1204"/>
                  </a:lnTo>
                  <a:cubicBezTo>
                    <a:pt x="11101" y="1141"/>
                    <a:pt x="11014" y="1109"/>
                    <a:pt x="10931" y="1109"/>
                  </a:cubicBezTo>
                  <a:cubicBezTo>
                    <a:pt x="10848" y="1109"/>
                    <a:pt x="10768" y="1141"/>
                    <a:pt x="10705" y="1204"/>
                  </a:cubicBezTo>
                  <a:lnTo>
                    <a:pt x="9660" y="2217"/>
                  </a:lnTo>
                  <a:cubicBezTo>
                    <a:pt x="9599" y="2279"/>
                    <a:pt x="9511" y="2314"/>
                    <a:pt x="9422" y="2314"/>
                  </a:cubicBezTo>
                  <a:cubicBezTo>
                    <a:pt x="9374" y="2314"/>
                    <a:pt x="9325" y="2303"/>
                    <a:pt x="9280" y="2281"/>
                  </a:cubicBezTo>
                  <a:cubicBezTo>
                    <a:pt x="9153" y="2217"/>
                    <a:pt x="8995" y="2154"/>
                    <a:pt x="8837" y="2091"/>
                  </a:cubicBezTo>
                  <a:cubicBezTo>
                    <a:pt x="8710" y="2059"/>
                    <a:pt x="8615" y="1932"/>
                    <a:pt x="8615" y="1774"/>
                  </a:cubicBezTo>
                  <a:lnTo>
                    <a:pt x="8615" y="349"/>
                  </a:lnTo>
                  <a:cubicBezTo>
                    <a:pt x="8615" y="159"/>
                    <a:pt x="8457" y="0"/>
                    <a:pt x="8267" y="0"/>
                  </a:cubicBez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" name="Google Shape;2184;p24">
              <a:extLst>
                <a:ext uri="{FF2B5EF4-FFF2-40B4-BE49-F238E27FC236}">
                  <a16:creationId xmlns:a16="http://schemas.microsoft.com/office/drawing/2014/main" id="{2F8B4724-7571-B8D5-A28A-9CF3C1797786}"/>
                </a:ext>
              </a:extLst>
            </p:cNvPr>
            <p:cNvSpPr/>
            <p:nvPr/>
          </p:nvSpPr>
          <p:spPr>
            <a:xfrm>
              <a:off x="8462899" y="3682924"/>
              <a:ext cx="152828" cy="151717"/>
            </a:xfrm>
            <a:custGeom>
              <a:avLst/>
              <a:gdLst/>
              <a:ahLst/>
              <a:cxnLst/>
              <a:rect l="l" t="t" r="r" b="b"/>
              <a:pathLst>
                <a:path w="4403" h="4371" extrusionOk="0">
                  <a:moveTo>
                    <a:pt x="2217" y="634"/>
                  </a:moveTo>
                  <a:cubicBezTo>
                    <a:pt x="3072" y="634"/>
                    <a:pt x="3769" y="1331"/>
                    <a:pt x="3769" y="2186"/>
                  </a:cubicBezTo>
                  <a:cubicBezTo>
                    <a:pt x="3769" y="3041"/>
                    <a:pt x="3072" y="3769"/>
                    <a:pt x="2217" y="3769"/>
                  </a:cubicBezTo>
                  <a:cubicBezTo>
                    <a:pt x="1330" y="3769"/>
                    <a:pt x="634" y="3041"/>
                    <a:pt x="634" y="2186"/>
                  </a:cubicBezTo>
                  <a:cubicBezTo>
                    <a:pt x="634" y="1331"/>
                    <a:pt x="1330" y="634"/>
                    <a:pt x="2217" y="634"/>
                  </a:cubicBezTo>
                  <a:close/>
                  <a:moveTo>
                    <a:pt x="2217" y="1"/>
                  </a:moveTo>
                  <a:cubicBezTo>
                    <a:pt x="982" y="1"/>
                    <a:pt x="0" y="982"/>
                    <a:pt x="0" y="2186"/>
                  </a:cubicBezTo>
                  <a:cubicBezTo>
                    <a:pt x="0" y="3389"/>
                    <a:pt x="982" y="4371"/>
                    <a:pt x="2217" y="4371"/>
                  </a:cubicBezTo>
                  <a:cubicBezTo>
                    <a:pt x="3421" y="4371"/>
                    <a:pt x="4402" y="3389"/>
                    <a:pt x="4402" y="2186"/>
                  </a:cubicBezTo>
                  <a:cubicBezTo>
                    <a:pt x="4402" y="982"/>
                    <a:pt x="3421" y="1"/>
                    <a:pt x="2217" y="1"/>
                  </a:cubicBezTo>
                  <a:close/>
                </a:path>
              </a:pathLst>
            </a:custGeom>
            <a:solidFill>
              <a:srgbClr val="F2A36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2185;p24">
              <a:extLst>
                <a:ext uri="{FF2B5EF4-FFF2-40B4-BE49-F238E27FC236}">
                  <a16:creationId xmlns:a16="http://schemas.microsoft.com/office/drawing/2014/main" id="{768D697C-71DB-FEAF-D63C-6EDF6D7D2D5D}"/>
                </a:ext>
              </a:extLst>
            </p:cNvPr>
            <p:cNvSpPr/>
            <p:nvPr/>
          </p:nvSpPr>
          <p:spPr>
            <a:xfrm>
              <a:off x="8512361" y="3732386"/>
              <a:ext cx="53905" cy="53905"/>
            </a:xfrm>
            <a:custGeom>
              <a:avLst/>
              <a:gdLst/>
              <a:ahLst/>
              <a:cxnLst/>
              <a:rect l="l" t="t" r="r" b="b"/>
              <a:pathLst>
                <a:path w="1553" h="1553" extrusionOk="0">
                  <a:moveTo>
                    <a:pt x="792" y="222"/>
                  </a:moveTo>
                  <a:cubicBezTo>
                    <a:pt x="1077" y="222"/>
                    <a:pt x="1331" y="476"/>
                    <a:pt x="1331" y="761"/>
                  </a:cubicBezTo>
                  <a:cubicBezTo>
                    <a:pt x="1331" y="1077"/>
                    <a:pt x="1077" y="1331"/>
                    <a:pt x="792" y="1331"/>
                  </a:cubicBezTo>
                  <a:cubicBezTo>
                    <a:pt x="475" y="1331"/>
                    <a:pt x="222" y="1077"/>
                    <a:pt x="222" y="761"/>
                  </a:cubicBezTo>
                  <a:cubicBezTo>
                    <a:pt x="222" y="476"/>
                    <a:pt x="475" y="222"/>
                    <a:pt x="792" y="222"/>
                  </a:cubicBezTo>
                  <a:close/>
                  <a:moveTo>
                    <a:pt x="792" y="1"/>
                  </a:moveTo>
                  <a:cubicBezTo>
                    <a:pt x="349" y="1"/>
                    <a:pt x="0" y="349"/>
                    <a:pt x="0" y="761"/>
                  </a:cubicBezTo>
                  <a:cubicBezTo>
                    <a:pt x="0" y="1204"/>
                    <a:pt x="349" y="1552"/>
                    <a:pt x="792" y="1552"/>
                  </a:cubicBezTo>
                  <a:cubicBezTo>
                    <a:pt x="1204" y="1552"/>
                    <a:pt x="1552" y="1204"/>
                    <a:pt x="1552" y="761"/>
                  </a:cubicBezTo>
                  <a:cubicBezTo>
                    <a:pt x="1552" y="349"/>
                    <a:pt x="1204" y="1"/>
                    <a:pt x="792" y="1"/>
                  </a:cubicBez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D06BF805-3D93-36D5-A0CB-4A9BF15E3BC8}"/>
              </a:ext>
            </a:extLst>
          </p:cNvPr>
          <p:cNvGrpSpPr/>
          <p:nvPr/>
        </p:nvGrpSpPr>
        <p:grpSpPr>
          <a:xfrm>
            <a:off x="10706550" y="3855027"/>
            <a:ext cx="920590" cy="1062945"/>
            <a:chOff x="2641142" y="272703"/>
            <a:chExt cx="1293815" cy="1493884"/>
          </a:xfrm>
        </p:grpSpPr>
        <p:sp>
          <p:nvSpPr>
            <p:cNvPr id="47" name="Google Shape;2177;p24">
              <a:extLst>
                <a:ext uri="{FF2B5EF4-FFF2-40B4-BE49-F238E27FC236}">
                  <a16:creationId xmlns:a16="http://schemas.microsoft.com/office/drawing/2014/main" id="{BA0670CB-B1EE-DA31-D3F3-5295E946F099}"/>
                </a:ext>
              </a:extLst>
            </p:cNvPr>
            <p:cNvSpPr/>
            <p:nvPr/>
          </p:nvSpPr>
          <p:spPr>
            <a:xfrm>
              <a:off x="2641142" y="272703"/>
              <a:ext cx="1293815" cy="1493884"/>
            </a:xfrm>
            <a:custGeom>
              <a:avLst/>
              <a:gdLst/>
              <a:ahLst/>
              <a:cxnLst/>
              <a:rect l="l" t="t" r="r" b="b"/>
              <a:pathLst>
                <a:path w="37275" h="43039" extrusionOk="0">
                  <a:moveTo>
                    <a:pt x="18653" y="507"/>
                  </a:moveTo>
                  <a:lnTo>
                    <a:pt x="36863" y="11021"/>
                  </a:lnTo>
                  <a:lnTo>
                    <a:pt x="36863" y="32017"/>
                  </a:lnTo>
                  <a:lnTo>
                    <a:pt x="18653" y="42531"/>
                  </a:lnTo>
                  <a:lnTo>
                    <a:pt x="444" y="32017"/>
                  </a:lnTo>
                  <a:lnTo>
                    <a:pt x="444" y="11021"/>
                  </a:lnTo>
                  <a:lnTo>
                    <a:pt x="18653" y="507"/>
                  </a:lnTo>
                  <a:close/>
                  <a:moveTo>
                    <a:pt x="18653" y="0"/>
                  </a:moveTo>
                  <a:lnTo>
                    <a:pt x="0" y="10768"/>
                  </a:lnTo>
                  <a:lnTo>
                    <a:pt x="0" y="32271"/>
                  </a:lnTo>
                  <a:lnTo>
                    <a:pt x="18653" y="43038"/>
                  </a:lnTo>
                  <a:lnTo>
                    <a:pt x="37275" y="32271"/>
                  </a:lnTo>
                  <a:lnTo>
                    <a:pt x="37275" y="10768"/>
                  </a:lnTo>
                  <a:lnTo>
                    <a:pt x="18653" y="0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2186;p24">
              <a:extLst>
                <a:ext uri="{FF2B5EF4-FFF2-40B4-BE49-F238E27FC236}">
                  <a16:creationId xmlns:a16="http://schemas.microsoft.com/office/drawing/2014/main" id="{CFD8D96B-D330-6769-7CAA-B4F4E05AEFE7}"/>
                </a:ext>
              </a:extLst>
            </p:cNvPr>
            <p:cNvSpPr/>
            <p:nvPr/>
          </p:nvSpPr>
          <p:spPr>
            <a:xfrm>
              <a:off x="2722468" y="366108"/>
              <a:ext cx="1132240" cy="1307040"/>
            </a:xfrm>
            <a:custGeom>
              <a:avLst/>
              <a:gdLst/>
              <a:ahLst/>
              <a:cxnLst/>
              <a:rect l="l" t="t" r="r" b="b"/>
              <a:pathLst>
                <a:path w="32620" h="37656" extrusionOk="0">
                  <a:moveTo>
                    <a:pt x="1" y="9407"/>
                  </a:moveTo>
                  <a:lnTo>
                    <a:pt x="1" y="28250"/>
                  </a:lnTo>
                  <a:lnTo>
                    <a:pt x="16310" y="37655"/>
                  </a:lnTo>
                  <a:lnTo>
                    <a:pt x="32620" y="28250"/>
                  </a:lnTo>
                  <a:lnTo>
                    <a:pt x="32620" y="9407"/>
                  </a:lnTo>
                  <a:lnTo>
                    <a:pt x="16310" y="1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2187;p24">
              <a:extLst>
                <a:ext uri="{FF2B5EF4-FFF2-40B4-BE49-F238E27FC236}">
                  <a16:creationId xmlns:a16="http://schemas.microsoft.com/office/drawing/2014/main" id="{30CBDB99-9614-49EC-74A6-E2EF8929CF4C}"/>
                </a:ext>
              </a:extLst>
            </p:cNvPr>
            <p:cNvSpPr/>
            <p:nvPr/>
          </p:nvSpPr>
          <p:spPr>
            <a:xfrm>
              <a:off x="2757664" y="406788"/>
              <a:ext cx="1061883" cy="1225679"/>
            </a:xfrm>
            <a:custGeom>
              <a:avLst/>
              <a:gdLst/>
              <a:ahLst/>
              <a:cxnLst/>
              <a:rect l="l" t="t" r="r" b="b"/>
              <a:pathLst>
                <a:path w="30593" h="35312" extrusionOk="0">
                  <a:moveTo>
                    <a:pt x="15296" y="1"/>
                  </a:moveTo>
                  <a:lnTo>
                    <a:pt x="0" y="8836"/>
                  </a:lnTo>
                  <a:lnTo>
                    <a:pt x="0" y="26508"/>
                  </a:lnTo>
                  <a:lnTo>
                    <a:pt x="15296" y="35312"/>
                  </a:lnTo>
                  <a:lnTo>
                    <a:pt x="30593" y="26508"/>
                  </a:lnTo>
                  <a:lnTo>
                    <a:pt x="30593" y="8836"/>
                  </a:lnTo>
                  <a:lnTo>
                    <a:pt x="15296" y="1"/>
                  </a:ln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58" name="Google Shape;2188;p24">
              <a:extLst>
                <a:ext uri="{FF2B5EF4-FFF2-40B4-BE49-F238E27FC236}">
                  <a16:creationId xmlns:a16="http://schemas.microsoft.com/office/drawing/2014/main" id="{BC806A8B-498F-1AFC-DC62-E25D0DE37310}"/>
                </a:ext>
              </a:extLst>
            </p:cNvPr>
            <p:cNvSpPr/>
            <p:nvPr/>
          </p:nvSpPr>
          <p:spPr>
            <a:xfrm>
              <a:off x="3014865" y="793735"/>
              <a:ext cx="547446" cy="451820"/>
            </a:xfrm>
            <a:custGeom>
              <a:avLst/>
              <a:gdLst/>
              <a:ahLst/>
              <a:cxnLst/>
              <a:rect l="l" t="t" r="r" b="b"/>
              <a:pathLst>
                <a:path w="15772" h="13017" extrusionOk="0">
                  <a:moveTo>
                    <a:pt x="1046" y="0"/>
                  </a:moveTo>
                  <a:cubicBezTo>
                    <a:pt x="888" y="0"/>
                    <a:pt x="761" y="32"/>
                    <a:pt x="634" y="63"/>
                  </a:cubicBezTo>
                  <a:cubicBezTo>
                    <a:pt x="571" y="95"/>
                    <a:pt x="508" y="127"/>
                    <a:pt x="444" y="190"/>
                  </a:cubicBezTo>
                  <a:cubicBezTo>
                    <a:pt x="349" y="254"/>
                    <a:pt x="254" y="349"/>
                    <a:pt x="191" y="444"/>
                  </a:cubicBezTo>
                  <a:cubicBezTo>
                    <a:pt x="64" y="634"/>
                    <a:pt x="1" y="824"/>
                    <a:pt x="1" y="1045"/>
                  </a:cubicBezTo>
                  <a:lnTo>
                    <a:pt x="1" y="10894"/>
                  </a:lnTo>
                  <a:cubicBezTo>
                    <a:pt x="1" y="11116"/>
                    <a:pt x="64" y="11306"/>
                    <a:pt x="191" y="11496"/>
                  </a:cubicBezTo>
                  <a:cubicBezTo>
                    <a:pt x="254" y="11591"/>
                    <a:pt x="349" y="11686"/>
                    <a:pt x="444" y="11781"/>
                  </a:cubicBezTo>
                  <a:cubicBezTo>
                    <a:pt x="508" y="11813"/>
                    <a:pt x="571" y="11844"/>
                    <a:pt x="634" y="11876"/>
                  </a:cubicBezTo>
                  <a:cubicBezTo>
                    <a:pt x="761" y="11939"/>
                    <a:pt x="888" y="11971"/>
                    <a:pt x="1046" y="11971"/>
                  </a:cubicBezTo>
                  <a:lnTo>
                    <a:pt x="1394" y="11971"/>
                  </a:lnTo>
                  <a:cubicBezTo>
                    <a:pt x="2059" y="11971"/>
                    <a:pt x="2598" y="11559"/>
                    <a:pt x="2819" y="10958"/>
                  </a:cubicBezTo>
                  <a:lnTo>
                    <a:pt x="9882" y="9406"/>
                  </a:lnTo>
                  <a:lnTo>
                    <a:pt x="9882" y="9406"/>
                  </a:lnTo>
                  <a:lnTo>
                    <a:pt x="9312" y="11306"/>
                  </a:lnTo>
                  <a:cubicBezTo>
                    <a:pt x="9185" y="11781"/>
                    <a:pt x="9343" y="12288"/>
                    <a:pt x="9787" y="12541"/>
                  </a:cubicBezTo>
                  <a:lnTo>
                    <a:pt x="10230" y="12826"/>
                  </a:lnTo>
                  <a:cubicBezTo>
                    <a:pt x="10388" y="12953"/>
                    <a:pt x="10547" y="12984"/>
                    <a:pt x="10737" y="13016"/>
                  </a:cubicBezTo>
                  <a:lnTo>
                    <a:pt x="10863" y="13016"/>
                  </a:lnTo>
                  <a:cubicBezTo>
                    <a:pt x="11338" y="13016"/>
                    <a:pt x="11782" y="12731"/>
                    <a:pt x="11972" y="12256"/>
                  </a:cubicBezTo>
                  <a:lnTo>
                    <a:pt x="13397" y="8646"/>
                  </a:lnTo>
                  <a:lnTo>
                    <a:pt x="14347" y="8424"/>
                  </a:lnTo>
                  <a:cubicBezTo>
                    <a:pt x="15170" y="8234"/>
                    <a:pt x="15772" y="7474"/>
                    <a:pt x="15772" y="6651"/>
                  </a:cubicBezTo>
                  <a:lnTo>
                    <a:pt x="15772" y="5162"/>
                  </a:lnTo>
                  <a:cubicBezTo>
                    <a:pt x="15772" y="4307"/>
                    <a:pt x="15170" y="3547"/>
                    <a:pt x="14347" y="3389"/>
                  </a:cubicBezTo>
                  <a:lnTo>
                    <a:pt x="2756" y="824"/>
                  </a:lnTo>
                  <a:cubicBezTo>
                    <a:pt x="2503" y="317"/>
                    <a:pt x="1996" y="0"/>
                    <a:pt x="139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" name="Google Shape;2189;p24">
              <a:extLst>
                <a:ext uri="{FF2B5EF4-FFF2-40B4-BE49-F238E27FC236}">
                  <a16:creationId xmlns:a16="http://schemas.microsoft.com/office/drawing/2014/main" id="{19D09249-38DB-E054-D307-2EF576E0986D}"/>
                </a:ext>
              </a:extLst>
            </p:cNvPr>
            <p:cNvSpPr/>
            <p:nvPr/>
          </p:nvSpPr>
          <p:spPr>
            <a:xfrm>
              <a:off x="3039058" y="817893"/>
              <a:ext cx="499095" cy="403296"/>
            </a:xfrm>
            <a:custGeom>
              <a:avLst/>
              <a:gdLst/>
              <a:ahLst/>
              <a:cxnLst/>
              <a:rect l="l" t="t" r="r" b="b"/>
              <a:pathLst>
                <a:path w="14379" h="11619" extrusionOk="0">
                  <a:moveTo>
                    <a:pt x="349" y="1"/>
                  </a:moveTo>
                  <a:cubicBezTo>
                    <a:pt x="159" y="1"/>
                    <a:pt x="1" y="159"/>
                    <a:pt x="1" y="349"/>
                  </a:cubicBezTo>
                  <a:lnTo>
                    <a:pt x="1" y="1774"/>
                  </a:lnTo>
                  <a:lnTo>
                    <a:pt x="1" y="8615"/>
                  </a:lnTo>
                  <a:lnTo>
                    <a:pt x="1" y="10198"/>
                  </a:lnTo>
                  <a:cubicBezTo>
                    <a:pt x="1" y="10388"/>
                    <a:pt x="159" y="10547"/>
                    <a:pt x="349" y="10547"/>
                  </a:cubicBezTo>
                  <a:lnTo>
                    <a:pt x="697" y="10547"/>
                  </a:lnTo>
                  <a:cubicBezTo>
                    <a:pt x="1141" y="10547"/>
                    <a:pt x="1521" y="10167"/>
                    <a:pt x="1521" y="9723"/>
                  </a:cubicBezTo>
                  <a:lnTo>
                    <a:pt x="1521" y="9660"/>
                  </a:lnTo>
                  <a:lnTo>
                    <a:pt x="10198" y="7760"/>
                  </a:lnTo>
                  <a:lnTo>
                    <a:pt x="10198" y="7760"/>
                  </a:lnTo>
                  <a:lnTo>
                    <a:pt x="9280" y="10832"/>
                  </a:lnTo>
                  <a:cubicBezTo>
                    <a:pt x="9248" y="10990"/>
                    <a:pt x="9311" y="11180"/>
                    <a:pt x="9438" y="11243"/>
                  </a:cubicBezTo>
                  <a:lnTo>
                    <a:pt x="9913" y="11528"/>
                  </a:lnTo>
                  <a:cubicBezTo>
                    <a:pt x="9996" y="11590"/>
                    <a:pt x="10089" y="11619"/>
                    <a:pt x="10180" y="11619"/>
                  </a:cubicBezTo>
                  <a:cubicBezTo>
                    <a:pt x="10367" y="11619"/>
                    <a:pt x="10546" y="11499"/>
                    <a:pt x="10610" y="11307"/>
                  </a:cubicBezTo>
                  <a:lnTo>
                    <a:pt x="12193" y="7316"/>
                  </a:lnTo>
                  <a:lnTo>
                    <a:pt x="13492" y="7031"/>
                  </a:lnTo>
                  <a:cubicBezTo>
                    <a:pt x="13998" y="6936"/>
                    <a:pt x="14378" y="6461"/>
                    <a:pt x="14378" y="5955"/>
                  </a:cubicBezTo>
                  <a:lnTo>
                    <a:pt x="14378" y="4466"/>
                  </a:lnTo>
                  <a:cubicBezTo>
                    <a:pt x="14378" y="3928"/>
                    <a:pt x="13998" y="3484"/>
                    <a:pt x="13492" y="3358"/>
                  </a:cubicBezTo>
                  <a:lnTo>
                    <a:pt x="1521" y="729"/>
                  </a:lnTo>
                  <a:cubicBezTo>
                    <a:pt x="1457" y="318"/>
                    <a:pt x="1141" y="1"/>
                    <a:pt x="697" y="1"/>
                  </a:cubicBez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" name="Google Shape;2190;p24">
              <a:extLst>
                <a:ext uri="{FF2B5EF4-FFF2-40B4-BE49-F238E27FC236}">
                  <a16:creationId xmlns:a16="http://schemas.microsoft.com/office/drawing/2014/main" id="{7CBD6267-EC4E-DB78-3A3B-82BB1442E343}"/>
                </a:ext>
              </a:extLst>
            </p:cNvPr>
            <p:cNvSpPr/>
            <p:nvPr/>
          </p:nvSpPr>
          <p:spPr>
            <a:xfrm>
              <a:off x="3039058" y="817893"/>
              <a:ext cx="54981" cy="366086"/>
            </a:xfrm>
            <a:custGeom>
              <a:avLst/>
              <a:gdLst/>
              <a:ahLst/>
              <a:cxnLst/>
              <a:rect l="l" t="t" r="r" b="b"/>
              <a:pathLst>
                <a:path w="1584" h="10547" extrusionOk="0">
                  <a:moveTo>
                    <a:pt x="349" y="1"/>
                  </a:moveTo>
                  <a:cubicBezTo>
                    <a:pt x="159" y="1"/>
                    <a:pt x="1" y="159"/>
                    <a:pt x="1" y="349"/>
                  </a:cubicBezTo>
                  <a:lnTo>
                    <a:pt x="1" y="10198"/>
                  </a:lnTo>
                  <a:cubicBezTo>
                    <a:pt x="1" y="10388"/>
                    <a:pt x="159" y="10547"/>
                    <a:pt x="349" y="10547"/>
                  </a:cubicBezTo>
                  <a:lnTo>
                    <a:pt x="697" y="10547"/>
                  </a:lnTo>
                  <a:cubicBezTo>
                    <a:pt x="1172" y="10547"/>
                    <a:pt x="1521" y="10167"/>
                    <a:pt x="1521" y="9723"/>
                  </a:cubicBezTo>
                  <a:lnTo>
                    <a:pt x="1521" y="9692"/>
                  </a:lnTo>
                  <a:lnTo>
                    <a:pt x="1584" y="9660"/>
                  </a:lnTo>
                  <a:lnTo>
                    <a:pt x="1584" y="761"/>
                  </a:lnTo>
                  <a:lnTo>
                    <a:pt x="1521" y="729"/>
                  </a:lnTo>
                  <a:cubicBezTo>
                    <a:pt x="1457" y="318"/>
                    <a:pt x="1141" y="1"/>
                    <a:pt x="697" y="1"/>
                  </a:cubicBezTo>
                  <a:close/>
                </a:path>
              </a:pathLst>
            </a:custGeom>
            <a:solidFill>
              <a:srgbClr val="F2A36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" name="Google Shape;2191;p24">
              <a:extLst>
                <a:ext uri="{FF2B5EF4-FFF2-40B4-BE49-F238E27FC236}">
                  <a16:creationId xmlns:a16="http://schemas.microsoft.com/office/drawing/2014/main" id="{F679E18E-95BB-1324-3FAF-8A63868746F9}"/>
                </a:ext>
              </a:extLst>
            </p:cNvPr>
            <p:cNvSpPr/>
            <p:nvPr/>
          </p:nvSpPr>
          <p:spPr>
            <a:xfrm>
              <a:off x="3108304" y="868257"/>
              <a:ext cx="340817" cy="88406"/>
            </a:xfrm>
            <a:custGeom>
              <a:avLst/>
              <a:gdLst/>
              <a:ahLst/>
              <a:cxnLst/>
              <a:rect l="l" t="t" r="r" b="b"/>
              <a:pathLst>
                <a:path w="9819" h="2547" extrusionOk="0">
                  <a:moveTo>
                    <a:pt x="205" y="1"/>
                  </a:moveTo>
                  <a:cubicBezTo>
                    <a:pt x="97" y="1"/>
                    <a:pt x="1" y="90"/>
                    <a:pt x="1" y="228"/>
                  </a:cubicBezTo>
                  <a:cubicBezTo>
                    <a:pt x="1" y="292"/>
                    <a:pt x="64" y="387"/>
                    <a:pt x="159" y="418"/>
                  </a:cubicBezTo>
                  <a:lnTo>
                    <a:pt x="9565" y="2540"/>
                  </a:lnTo>
                  <a:cubicBezTo>
                    <a:pt x="9581" y="2544"/>
                    <a:pt x="9597" y="2546"/>
                    <a:pt x="9614" y="2546"/>
                  </a:cubicBezTo>
                  <a:cubicBezTo>
                    <a:pt x="9722" y="2546"/>
                    <a:pt x="9818" y="2456"/>
                    <a:pt x="9818" y="2318"/>
                  </a:cubicBezTo>
                  <a:lnTo>
                    <a:pt x="9818" y="2287"/>
                  </a:lnTo>
                  <a:cubicBezTo>
                    <a:pt x="9818" y="2192"/>
                    <a:pt x="9755" y="2097"/>
                    <a:pt x="9660" y="2097"/>
                  </a:cubicBezTo>
                  <a:lnTo>
                    <a:pt x="254" y="7"/>
                  </a:lnTo>
                  <a:cubicBezTo>
                    <a:pt x="238" y="3"/>
                    <a:pt x="221" y="1"/>
                    <a:pt x="20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" name="Google Shape;2192;p24">
              <a:extLst>
                <a:ext uri="{FF2B5EF4-FFF2-40B4-BE49-F238E27FC236}">
                  <a16:creationId xmlns:a16="http://schemas.microsoft.com/office/drawing/2014/main" id="{E84B489C-7498-8DE3-EA91-DF28CDE22806}"/>
                </a:ext>
              </a:extLst>
            </p:cNvPr>
            <p:cNvSpPr/>
            <p:nvPr/>
          </p:nvSpPr>
          <p:spPr>
            <a:xfrm>
              <a:off x="3360021" y="1071831"/>
              <a:ext cx="102290" cy="149357"/>
            </a:xfrm>
            <a:custGeom>
              <a:avLst/>
              <a:gdLst/>
              <a:ahLst/>
              <a:cxnLst/>
              <a:rect l="l" t="t" r="r" b="b"/>
              <a:pathLst>
                <a:path w="2947" h="4303" extrusionOk="0">
                  <a:moveTo>
                    <a:pt x="2946" y="0"/>
                  </a:moveTo>
                  <a:lnTo>
                    <a:pt x="951" y="444"/>
                  </a:lnTo>
                  <a:lnTo>
                    <a:pt x="64" y="3516"/>
                  </a:lnTo>
                  <a:cubicBezTo>
                    <a:pt x="1" y="3674"/>
                    <a:pt x="64" y="3864"/>
                    <a:pt x="223" y="3927"/>
                  </a:cubicBezTo>
                  <a:lnTo>
                    <a:pt x="666" y="4212"/>
                  </a:lnTo>
                  <a:cubicBezTo>
                    <a:pt x="749" y="4274"/>
                    <a:pt x="842" y="4303"/>
                    <a:pt x="933" y="4303"/>
                  </a:cubicBezTo>
                  <a:cubicBezTo>
                    <a:pt x="1120" y="4303"/>
                    <a:pt x="1299" y="4183"/>
                    <a:pt x="1363" y="3991"/>
                  </a:cubicBezTo>
                  <a:lnTo>
                    <a:pt x="2946" y="0"/>
                  </a:lnTo>
                  <a:close/>
                </a:path>
              </a:pathLst>
            </a:custGeom>
            <a:solidFill>
              <a:srgbClr val="F2A36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31E4B6B2-DF2B-6E17-076C-4EC8E707CD9A}"/>
              </a:ext>
            </a:extLst>
          </p:cNvPr>
          <p:cNvGrpSpPr/>
          <p:nvPr/>
        </p:nvGrpSpPr>
        <p:grpSpPr>
          <a:xfrm>
            <a:off x="5627394" y="1611023"/>
            <a:ext cx="1293815" cy="1493884"/>
            <a:chOff x="9829293" y="2265454"/>
            <a:chExt cx="1293815" cy="1493884"/>
          </a:xfrm>
        </p:grpSpPr>
        <p:sp>
          <p:nvSpPr>
            <p:cNvPr id="49" name="Google Shape;2179;p24">
              <a:extLst>
                <a:ext uri="{FF2B5EF4-FFF2-40B4-BE49-F238E27FC236}">
                  <a16:creationId xmlns:a16="http://schemas.microsoft.com/office/drawing/2014/main" id="{771112AB-20C5-AD96-C566-5C31B050AA45}"/>
                </a:ext>
              </a:extLst>
            </p:cNvPr>
            <p:cNvSpPr/>
            <p:nvPr/>
          </p:nvSpPr>
          <p:spPr>
            <a:xfrm>
              <a:off x="9829293" y="2265454"/>
              <a:ext cx="1293815" cy="1493884"/>
            </a:xfrm>
            <a:custGeom>
              <a:avLst/>
              <a:gdLst/>
              <a:ahLst/>
              <a:cxnLst/>
              <a:rect l="l" t="t" r="r" b="b"/>
              <a:pathLst>
                <a:path w="37275" h="43039" extrusionOk="0">
                  <a:moveTo>
                    <a:pt x="18653" y="476"/>
                  </a:moveTo>
                  <a:lnTo>
                    <a:pt x="36863" y="10990"/>
                  </a:lnTo>
                  <a:lnTo>
                    <a:pt x="36863" y="32018"/>
                  </a:lnTo>
                  <a:lnTo>
                    <a:pt x="18653" y="42532"/>
                  </a:lnTo>
                  <a:lnTo>
                    <a:pt x="444" y="32018"/>
                  </a:lnTo>
                  <a:lnTo>
                    <a:pt x="444" y="10990"/>
                  </a:lnTo>
                  <a:lnTo>
                    <a:pt x="18653" y="476"/>
                  </a:lnTo>
                  <a:close/>
                  <a:moveTo>
                    <a:pt x="18653" y="1"/>
                  </a:moveTo>
                  <a:lnTo>
                    <a:pt x="127" y="10673"/>
                  </a:lnTo>
                  <a:lnTo>
                    <a:pt x="0" y="10737"/>
                  </a:lnTo>
                  <a:lnTo>
                    <a:pt x="0" y="32271"/>
                  </a:lnTo>
                  <a:lnTo>
                    <a:pt x="18653" y="43039"/>
                  </a:lnTo>
                  <a:lnTo>
                    <a:pt x="37180" y="32335"/>
                  </a:lnTo>
                  <a:lnTo>
                    <a:pt x="37275" y="32271"/>
                  </a:lnTo>
                  <a:lnTo>
                    <a:pt x="37275" y="10737"/>
                  </a:lnTo>
                  <a:lnTo>
                    <a:pt x="18653" y="1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63" name="Google Shape;2193;p24">
              <a:extLst>
                <a:ext uri="{FF2B5EF4-FFF2-40B4-BE49-F238E27FC236}">
                  <a16:creationId xmlns:a16="http://schemas.microsoft.com/office/drawing/2014/main" id="{E98D31F7-F89F-6B90-C21F-FABFF4D24994}"/>
                </a:ext>
              </a:extLst>
            </p:cNvPr>
            <p:cNvSpPr/>
            <p:nvPr/>
          </p:nvSpPr>
          <p:spPr>
            <a:xfrm>
              <a:off x="9910619" y="2357818"/>
              <a:ext cx="1132240" cy="1308116"/>
            </a:xfrm>
            <a:custGeom>
              <a:avLst/>
              <a:gdLst/>
              <a:ahLst/>
              <a:cxnLst/>
              <a:rect l="l" t="t" r="r" b="b"/>
              <a:pathLst>
                <a:path w="32620" h="37687" extrusionOk="0">
                  <a:moveTo>
                    <a:pt x="1" y="9437"/>
                  </a:moveTo>
                  <a:lnTo>
                    <a:pt x="1" y="28280"/>
                  </a:lnTo>
                  <a:lnTo>
                    <a:pt x="16310" y="37686"/>
                  </a:lnTo>
                  <a:lnTo>
                    <a:pt x="32620" y="28280"/>
                  </a:lnTo>
                  <a:lnTo>
                    <a:pt x="32620" y="9437"/>
                  </a:lnTo>
                  <a:lnTo>
                    <a:pt x="16310" y="0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" name="Google Shape;2194;p24">
              <a:extLst>
                <a:ext uri="{FF2B5EF4-FFF2-40B4-BE49-F238E27FC236}">
                  <a16:creationId xmlns:a16="http://schemas.microsoft.com/office/drawing/2014/main" id="{64B3E155-9A38-8D6A-B4CF-C7FA5B086A47}"/>
                </a:ext>
              </a:extLst>
            </p:cNvPr>
            <p:cNvSpPr/>
            <p:nvPr/>
          </p:nvSpPr>
          <p:spPr>
            <a:xfrm>
              <a:off x="9945815" y="2398463"/>
              <a:ext cx="1061883" cy="1226790"/>
            </a:xfrm>
            <a:custGeom>
              <a:avLst/>
              <a:gdLst/>
              <a:ahLst/>
              <a:cxnLst/>
              <a:rect l="l" t="t" r="r" b="b"/>
              <a:pathLst>
                <a:path w="30593" h="35344" extrusionOk="0">
                  <a:moveTo>
                    <a:pt x="15296" y="1"/>
                  </a:moveTo>
                  <a:lnTo>
                    <a:pt x="0" y="8836"/>
                  </a:lnTo>
                  <a:lnTo>
                    <a:pt x="0" y="26508"/>
                  </a:lnTo>
                  <a:lnTo>
                    <a:pt x="15296" y="35343"/>
                  </a:lnTo>
                  <a:lnTo>
                    <a:pt x="30593" y="26508"/>
                  </a:lnTo>
                  <a:lnTo>
                    <a:pt x="30593" y="8836"/>
                  </a:lnTo>
                  <a:lnTo>
                    <a:pt x="15296" y="1"/>
                  </a:ln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" name="Google Shape;2195;p24">
              <a:extLst>
                <a:ext uri="{FF2B5EF4-FFF2-40B4-BE49-F238E27FC236}">
                  <a16:creationId xmlns:a16="http://schemas.microsoft.com/office/drawing/2014/main" id="{C7FABB21-3222-3BD5-A57A-D5B80EC28C75}"/>
                </a:ext>
              </a:extLst>
            </p:cNvPr>
            <p:cNvSpPr/>
            <p:nvPr/>
          </p:nvSpPr>
          <p:spPr>
            <a:xfrm>
              <a:off x="10164557" y="2805195"/>
              <a:ext cx="624398" cy="413327"/>
            </a:xfrm>
            <a:custGeom>
              <a:avLst/>
              <a:gdLst/>
              <a:ahLst/>
              <a:cxnLst/>
              <a:rect l="l" t="t" r="r" b="b"/>
              <a:pathLst>
                <a:path w="17989" h="11908" extrusionOk="0">
                  <a:moveTo>
                    <a:pt x="3421" y="4276"/>
                  </a:moveTo>
                  <a:lnTo>
                    <a:pt x="4402" y="5986"/>
                  </a:lnTo>
                  <a:lnTo>
                    <a:pt x="2439" y="5986"/>
                  </a:lnTo>
                  <a:lnTo>
                    <a:pt x="3421" y="4276"/>
                  </a:lnTo>
                  <a:close/>
                  <a:moveTo>
                    <a:pt x="14568" y="4276"/>
                  </a:moveTo>
                  <a:lnTo>
                    <a:pt x="15550" y="5986"/>
                  </a:lnTo>
                  <a:lnTo>
                    <a:pt x="13586" y="5986"/>
                  </a:lnTo>
                  <a:lnTo>
                    <a:pt x="14568" y="4276"/>
                  </a:lnTo>
                  <a:close/>
                  <a:moveTo>
                    <a:pt x="13365" y="3041"/>
                  </a:moveTo>
                  <a:lnTo>
                    <a:pt x="11148" y="6872"/>
                  </a:lnTo>
                  <a:lnTo>
                    <a:pt x="11148" y="7062"/>
                  </a:lnTo>
                  <a:cubicBezTo>
                    <a:pt x="11211" y="8044"/>
                    <a:pt x="11718" y="8931"/>
                    <a:pt x="12446" y="9501"/>
                  </a:cubicBezTo>
                  <a:cubicBezTo>
                    <a:pt x="11940" y="9216"/>
                    <a:pt x="11275" y="9026"/>
                    <a:pt x="10515" y="8899"/>
                  </a:cubicBezTo>
                  <a:lnTo>
                    <a:pt x="10515" y="3864"/>
                  </a:lnTo>
                  <a:cubicBezTo>
                    <a:pt x="10926" y="3801"/>
                    <a:pt x="11243" y="3452"/>
                    <a:pt x="11306" y="3041"/>
                  </a:cubicBezTo>
                  <a:close/>
                  <a:moveTo>
                    <a:pt x="7791" y="0"/>
                  </a:moveTo>
                  <a:cubicBezTo>
                    <a:pt x="7316" y="0"/>
                    <a:pt x="6904" y="380"/>
                    <a:pt x="6841" y="855"/>
                  </a:cubicBezTo>
                  <a:lnTo>
                    <a:pt x="3452" y="855"/>
                  </a:lnTo>
                  <a:cubicBezTo>
                    <a:pt x="2851" y="855"/>
                    <a:pt x="2376" y="1330"/>
                    <a:pt x="2376" y="1932"/>
                  </a:cubicBezTo>
                  <a:cubicBezTo>
                    <a:pt x="2376" y="2122"/>
                    <a:pt x="2439" y="2312"/>
                    <a:pt x="2502" y="2470"/>
                  </a:cubicBezTo>
                  <a:lnTo>
                    <a:pt x="0" y="6841"/>
                  </a:lnTo>
                  <a:lnTo>
                    <a:pt x="0" y="7062"/>
                  </a:lnTo>
                  <a:cubicBezTo>
                    <a:pt x="127" y="8836"/>
                    <a:pt x="1616" y="10261"/>
                    <a:pt x="3421" y="10261"/>
                  </a:cubicBezTo>
                  <a:cubicBezTo>
                    <a:pt x="5226" y="10261"/>
                    <a:pt x="6714" y="8836"/>
                    <a:pt x="6841" y="7062"/>
                  </a:cubicBezTo>
                  <a:lnTo>
                    <a:pt x="6841" y="6841"/>
                  </a:lnTo>
                  <a:lnTo>
                    <a:pt x="4624" y="3009"/>
                  </a:lnTo>
                  <a:lnTo>
                    <a:pt x="6841" y="3009"/>
                  </a:lnTo>
                  <a:cubicBezTo>
                    <a:pt x="6904" y="3452"/>
                    <a:pt x="7221" y="3769"/>
                    <a:pt x="7633" y="3864"/>
                  </a:cubicBezTo>
                  <a:lnTo>
                    <a:pt x="7633" y="8899"/>
                  </a:lnTo>
                  <a:cubicBezTo>
                    <a:pt x="5701" y="9216"/>
                    <a:pt x="4434" y="10134"/>
                    <a:pt x="4434" y="11243"/>
                  </a:cubicBezTo>
                  <a:lnTo>
                    <a:pt x="4434" y="11908"/>
                  </a:lnTo>
                  <a:lnTo>
                    <a:pt x="13713" y="11908"/>
                  </a:lnTo>
                  <a:lnTo>
                    <a:pt x="13713" y="11243"/>
                  </a:lnTo>
                  <a:cubicBezTo>
                    <a:pt x="13713" y="10704"/>
                    <a:pt x="13428" y="10229"/>
                    <a:pt x="12953" y="9849"/>
                  </a:cubicBezTo>
                  <a:lnTo>
                    <a:pt x="12953" y="9849"/>
                  </a:lnTo>
                  <a:cubicBezTo>
                    <a:pt x="13428" y="10103"/>
                    <a:pt x="13998" y="10261"/>
                    <a:pt x="14568" y="10261"/>
                  </a:cubicBezTo>
                  <a:cubicBezTo>
                    <a:pt x="16373" y="10261"/>
                    <a:pt x="17862" y="8836"/>
                    <a:pt x="17988" y="7062"/>
                  </a:cubicBezTo>
                  <a:lnTo>
                    <a:pt x="17988" y="6841"/>
                  </a:lnTo>
                  <a:lnTo>
                    <a:pt x="15550" y="2597"/>
                  </a:lnTo>
                  <a:cubicBezTo>
                    <a:pt x="15677" y="2407"/>
                    <a:pt x="15772" y="2185"/>
                    <a:pt x="15772" y="1932"/>
                  </a:cubicBezTo>
                  <a:cubicBezTo>
                    <a:pt x="15772" y="1330"/>
                    <a:pt x="15297" y="855"/>
                    <a:pt x="14695" y="855"/>
                  </a:cubicBezTo>
                  <a:lnTo>
                    <a:pt x="11306" y="855"/>
                  </a:lnTo>
                  <a:cubicBezTo>
                    <a:pt x="11243" y="380"/>
                    <a:pt x="10831" y="0"/>
                    <a:pt x="1035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" name="Google Shape;2196;p24">
              <a:extLst>
                <a:ext uri="{FF2B5EF4-FFF2-40B4-BE49-F238E27FC236}">
                  <a16:creationId xmlns:a16="http://schemas.microsoft.com/office/drawing/2014/main" id="{F4E57DF5-7840-6512-21E8-83DAD835E984}"/>
                </a:ext>
              </a:extLst>
            </p:cNvPr>
            <p:cNvSpPr/>
            <p:nvPr/>
          </p:nvSpPr>
          <p:spPr>
            <a:xfrm>
              <a:off x="10341543" y="3134940"/>
              <a:ext cx="275945" cy="62721"/>
            </a:xfrm>
            <a:custGeom>
              <a:avLst/>
              <a:gdLst/>
              <a:ahLst/>
              <a:cxnLst/>
              <a:rect l="l" t="t" r="r" b="b"/>
              <a:pathLst>
                <a:path w="7950" h="1807" extrusionOk="0">
                  <a:moveTo>
                    <a:pt x="3959" y="1"/>
                  </a:moveTo>
                  <a:cubicBezTo>
                    <a:pt x="1774" y="1"/>
                    <a:pt x="0" y="793"/>
                    <a:pt x="0" y="1806"/>
                  </a:cubicBezTo>
                  <a:lnTo>
                    <a:pt x="7949" y="1806"/>
                  </a:lnTo>
                  <a:cubicBezTo>
                    <a:pt x="7949" y="793"/>
                    <a:pt x="6176" y="1"/>
                    <a:pt x="3959" y="1"/>
                  </a:cubicBez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" name="Google Shape;2197;p24">
              <a:extLst>
                <a:ext uri="{FF2B5EF4-FFF2-40B4-BE49-F238E27FC236}">
                  <a16:creationId xmlns:a16="http://schemas.microsoft.com/office/drawing/2014/main" id="{AE245831-5225-8845-ABCE-EF22C5866EB6}"/>
                </a:ext>
              </a:extLst>
            </p:cNvPr>
            <p:cNvSpPr/>
            <p:nvPr/>
          </p:nvSpPr>
          <p:spPr>
            <a:xfrm>
              <a:off x="10451470" y="2900821"/>
              <a:ext cx="54981" cy="264941"/>
            </a:xfrm>
            <a:custGeom>
              <a:avLst/>
              <a:gdLst/>
              <a:ahLst/>
              <a:cxnLst/>
              <a:rect l="l" t="t" r="r" b="b"/>
              <a:pathLst>
                <a:path w="1584" h="7633" extrusionOk="0">
                  <a:moveTo>
                    <a:pt x="0" y="0"/>
                  </a:moveTo>
                  <a:lnTo>
                    <a:pt x="0" y="7633"/>
                  </a:lnTo>
                  <a:lnTo>
                    <a:pt x="1583" y="7633"/>
                  </a:lnTo>
                  <a:lnTo>
                    <a:pt x="1583" y="0"/>
                  </a:lnTo>
                  <a:close/>
                </a:path>
              </a:pathLst>
            </a:custGeom>
            <a:solidFill>
              <a:srgbClr val="F2A36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" name="Google Shape;2198;p24">
              <a:extLst>
                <a:ext uri="{FF2B5EF4-FFF2-40B4-BE49-F238E27FC236}">
                  <a16:creationId xmlns:a16="http://schemas.microsoft.com/office/drawing/2014/main" id="{E370847E-7AF2-8631-15BA-B43F353FF998}"/>
                </a:ext>
              </a:extLst>
            </p:cNvPr>
            <p:cNvSpPr/>
            <p:nvPr/>
          </p:nvSpPr>
          <p:spPr>
            <a:xfrm>
              <a:off x="10270075" y="2860141"/>
              <a:ext cx="418846" cy="28636"/>
            </a:xfrm>
            <a:custGeom>
              <a:avLst/>
              <a:gdLst/>
              <a:ahLst/>
              <a:cxnLst/>
              <a:rect l="l" t="t" r="r" b="b"/>
              <a:pathLst>
                <a:path w="12067" h="825" extrusionOk="0">
                  <a:moveTo>
                    <a:pt x="412" y="1"/>
                  </a:moveTo>
                  <a:cubicBezTo>
                    <a:pt x="191" y="1"/>
                    <a:pt x="1" y="191"/>
                    <a:pt x="1" y="412"/>
                  </a:cubicBezTo>
                  <a:cubicBezTo>
                    <a:pt x="1" y="634"/>
                    <a:pt x="191" y="824"/>
                    <a:pt x="412" y="824"/>
                  </a:cubicBezTo>
                  <a:lnTo>
                    <a:pt x="11655" y="824"/>
                  </a:lnTo>
                  <a:cubicBezTo>
                    <a:pt x="11877" y="824"/>
                    <a:pt x="12067" y="634"/>
                    <a:pt x="12067" y="412"/>
                  </a:cubicBezTo>
                  <a:cubicBezTo>
                    <a:pt x="12067" y="191"/>
                    <a:pt x="11877" y="1"/>
                    <a:pt x="11655" y="1"/>
                  </a:cubicBezTo>
                  <a:close/>
                </a:path>
              </a:pathLst>
            </a:custGeom>
            <a:solidFill>
              <a:srgbClr val="F2A36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" name="Google Shape;2199;p24">
              <a:extLst>
                <a:ext uri="{FF2B5EF4-FFF2-40B4-BE49-F238E27FC236}">
                  <a16:creationId xmlns:a16="http://schemas.microsoft.com/office/drawing/2014/main" id="{51E0D43C-CCF0-5338-57C2-C3D7C8742806}"/>
                </a:ext>
              </a:extLst>
            </p:cNvPr>
            <p:cNvSpPr/>
            <p:nvPr/>
          </p:nvSpPr>
          <p:spPr>
            <a:xfrm>
              <a:off x="10425056" y="2830464"/>
              <a:ext cx="108885" cy="87990"/>
            </a:xfrm>
            <a:custGeom>
              <a:avLst/>
              <a:gdLst/>
              <a:ahLst/>
              <a:cxnLst/>
              <a:rect l="l" t="t" r="r" b="b"/>
              <a:pathLst>
                <a:path w="3137" h="2535" extrusionOk="0">
                  <a:moveTo>
                    <a:pt x="286" y="1"/>
                  </a:moveTo>
                  <a:cubicBezTo>
                    <a:pt x="128" y="1"/>
                    <a:pt x="1" y="127"/>
                    <a:pt x="1" y="286"/>
                  </a:cubicBezTo>
                  <a:lnTo>
                    <a:pt x="1" y="2249"/>
                  </a:lnTo>
                  <a:cubicBezTo>
                    <a:pt x="1" y="2408"/>
                    <a:pt x="128" y="2534"/>
                    <a:pt x="286" y="2534"/>
                  </a:cubicBezTo>
                  <a:lnTo>
                    <a:pt x="2851" y="2534"/>
                  </a:lnTo>
                  <a:cubicBezTo>
                    <a:pt x="3010" y="2534"/>
                    <a:pt x="3136" y="2408"/>
                    <a:pt x="3136" y="2249"/>
                  </a:cubicBezTo>
                  <a:lnTo>
                    <a:pt x="3136" y="286"/>
                  </a:lnTo>
                  <a:cubicBezTo>
                    <a:pt x="3136" y="127"/>
                    <a:pt x="3010" y="1"/>
                    <a:pt x="2851" y="1"/>
                  </a:cubicBez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" name="Google Shape;2200;p24">
              <a:extLst>
                <a:ext uri="{FF2B5EF4-FFF2-40B4-BE49-F238E27FC236}">
                  <a16:creationId xmlns:a16="http://schemas.microsoft.com/office/drawing/2014/main" id="{D4B41068-57DB-C752-E284-7BBF2653F5BC}"/>
                </a:ext>
              </a:extLst>
            </p:cNvPr>
            <p:cNvSpPr/>
            <p:nvPr/>
          </p:nvSpPr>
          <p:spPr>
            <a:xfrm>
              <a:off x="10574552" y="2884334"/>
              <a:ext cx="191322" cy="256160"/>
            </a:xfrm>
            <a:custGeom>
              <a:avLst/>
              <a:gdLst/>
              <a:ahLst/>
              <a:cxnLst/>
              <a:rect l="l" t="t" r="r" b="b"/>
              <a:pathLst>
                <a:path w="5512" h="7380" extrusionOk="0">
                  <a:moveTo>
                    <a:pt x="2756" y="729"/>
                  </a:moveTo>
                  <a:lnTo>
                    <a:pt x="4878" y="4434"/>
                  </a:lnTo>
                  <a:lnTo>
                    <a:pt x="634" y="4434"/>
                  </a:lnTo>
                  <a:lnTo>
                    <a:pt x="2756" y="729"/>
                  </a:lnTo>
                  <a:close/>
                  <a:moveTo>
                    <a:pt x="2756" y="0"/>
                  </a:moveTo>
                  <a:lnTo>
                    <a:pt x="1363" y="2376"/>
                  </a:lnTo>
                  <a:lnTo>
                    <a:pt x="1" y="4782"/>
                  </a:lnTo>
                  <a:cubicBezTo>
                    <a:pt x="96" y="6239"/>
                    <a:pt x="1299" y="7379"/>
                    <a:pt x="2756" y="7379"/>
                  </a:cubicBezTo>
                  <a:cubicBezTo>
                    <a:pt x="4213" y="7379"/>
                    <a:pt x="5416" y="6239"/>
                    <a:pt x="5511" y="4782"/>
                  </a:cubicBezTo>
                  <a:lnTo>
                    <a:pt x="4150" y="2376"/>
                  </a:lnTo>
                  <a:lnTo>
                    <a:pt x="2756" y="0"/>
                  </a:ln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" name="Google Shape;2201;p24">
              <a:extLst>
                <a:ext uri="{FF2B5EF4-FFF2-40B4-BE49-F238E27FC236}">
                  <a16:creationId xmlns:a16="http://schemas.microsoft.com/office/drawing/2014/main" id="{7EBB8B5B-1E29-7964-FB00-784F4CDB85F1}"/>
                </a:ext>
              </a:extLst>
            </p:cNvPr>
            <p:cNvSpPr/>
            <p:nvPr/>
          </p:nvSpPr>
          <p:spPr>
            <a:xfrm>
              <a:off x="10187639" y="2884334"/>
              <a:ext cx="191287" cy="256160"/>
            </a:xfrm>
            <a:custGeom>
              <a:avLst/>
              <a:gdLst/>
              <a:ahLst/>
              <a:cxnLst/>
              <a:rect l="l" t="t" r="r" b="b"/>
              <a:pathLst>
                <a:path w="5511" h="7380" extrusionOk="0">
                  <a:moveTo>
                    <a:pt x="2756" y="729"/>
                  </a:moveTo>
                  <a:lnTo>
                    <a:pt x="4877" y="4434"/>
                  </a:lnTo>
                  <a:lnTo>
                    <a:pt x="634" y="4434"/>
                  </a:lnTo>
                  <a:lnTo>
                    <a:pt x="2756" y="729"/>
                  </a:lnTo>
                  <a:close/>
                  <a:moveTo>
                    <a:pt x="2756" y="0"/>
                  </a:moveTo>
                  <a:lnTo>
                    <a:pt x="1362" y="2376"/>
                  </a:lnTo>
                  <a:lnTo>
                    <a:pt x="0" y="4782"/>
                  </a:lnTo>
                  <a:cubicBezTo>
                    <a:pt x="95" y="6239"/>
                    <a:pt x="1299" y="7379"/>
                    <a:pt x="2756" y="7379"/>
                  </a:cubicBezTo>
                  <a:cubicBezTo>
                    <a:pt x="4212" y="7379"/>
                    <a:pt x="5416" y="6239"/>
                    <a:pt x="5511" y="4782"/>
                  </a:cubicBezTo>
                  <a:lnTo>
                    <a:pt x="4117" y="2376"/>
                  </a:lnTo>
                  <a:lnTo>
                    <a:pt x="2756" y="0"/>
                  </a:ln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DEF97935-9C8C-F3C6-532D-2BB9FB084C62}"/>
              </a:ext>
            </a:extLst>
          </p:cNvPr>
          <p:cNvGrpSpPr/>
          <p:nvPr/>
        </p:nvGrpSpPr>
        <p:grpSpPr>
          <a:xfrm>
            <a:off x="5245406" y="3947574"/>
            <a:ext cx="570216" cy="658391"/>
            <a:chOff x="6883645" y="2865642"/>
            <a:chExt cx="1293815" cy="1493884"/>
          </a:xfrm>
        </p:grpSpPr>
        <p:sp>
          <p:nvSpPr>
            <p:cNvPr id="109" name="Google Shape;2143;p24">
              <a:extLst>
                <a:ext uri="{FF2B5EF4-FFF2-40B4-BE49-F238E27FC236}">
                  <a16:creationId xmlns:a16="http://schemas.microsoft.com/office/drawing/2014/main" id="{90671DC1-8749-863B-E2F0-ADA92FBFB05E}"/>
                </a:ext>
              </a:extLst>
            </p:cNvPr>
            <p:cNvSpPr/>
            <p:nvPr/>
          </p:nvSpPr>
          <p:spPr>
            <a:xfrm>
              <a:off x="6883645" y="2865642"/>
              <a:ext cx="1293815" cy="1493884"/>
            </a:xfrm>
            <a:custGeom>
              <a:avLst/>
              <a:gdLst/>
              <a:ahLst/>
              <a:cxnLst/>
              <a:rect l="l" t="t" r="r" b="b"/>
              <a:pathLst>
                <a:path w="37275" h="43039" extrusionOk="0">
                  <a:moveTo>
                    <a:pt x="18621" y="507"/>
                  </a:moveTo>
                  <a:lnTo>
                    <a:pt x="36831" y="11021"/>
                  </a:lnTo>
                  <a:lnTo>
                    <a:pt x="36831" y="32017"/>
                  </a:lnTo>
                  <a:lnTo>
                    <a:pt x="18621" y="42531"/>
                  </a:lnTo>
                  <a:lnTo>
                    <a:pt x="412" y="32017"/>
                  </a:lnTo>
                  <a:lnTo>
                    <a:pt x="412" y="11021"/>
                  </a:lnTo>
                  <a:lnTo>
                    <a:pt x="18621" y="507"/>
                  </a:lnTo>
                  <a:close/>
                  <a:moveTo>
                    <a:pt x="18621" y="0"/>
                  </a:moveTo>
                  <a:lnTo>
                    <a:pt x="0" y="10768"/>
                  </a:lnTo>
                  <a:lnTo>
                    <a:pt x="0" y="32271"/>
                  </a:lnTo>
                  <a:lnTo>
                    <a:pt x="18621" y="43038"/>
                  </a:lnTo>
                  <a:lnTo>
                    <a:pt x="37275" y="32271"/>
                  </a:lnTo>
                  <a:lnTo>
                    <a:pt x="37275" y="10768"/>
                  </a:lnTo>
                  <a:lnTo>
                    <a:pt x="18621" y="0"/>
                  </a:lnTo>
                  <a:close/>
                </a:path>
              </a:pathLst>
            </a:custGeom>
            <a:solidFill>
              <a:srgbClr val="F2A36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" name="Google Shape;2146;p24">
              <a:extLst>
                <a:ext uri="{FF2B5EF4-FFF2-40B4-BE49-F238E27FC236}">
                  <a16:creationId xmlns:a16="http://schemas.microsoft.com/office/drawing/2014/main" id="{DD093CB8-596A-0C9D-8898-DEC6D701BE48}"/>
                </a:ext>
              </a:extLst>
            </p:cNvPr>
            <p:cNvSpPr/>
            <p:nvPr/>
          </p:nvSpPr>
          <p:spPr>
            <a:xfrm>
              <a:off x="6963860" y="2959047"/>
              <a:ext cx="1132275" cy="1307040"/>
            </a:xfrm>
            <a:custGeom>
              <a:avLst/>
              <a:gdLst/>
              <a:ahLst/>
              <a:cxnLst/>
              <a:rect l="l" t="t" r="r" b="b"/>
              <a:pathLst>
                <a:path w="32621" h="37656" extrusionOk="0">
                  <a:moveTo>
                    <a:pt x="16310" y="1"/>
                  </a:moveTo>
                  <a:lnTo>
                    <a:pt x="1" y="9407"/>
                  </a:lnTo>
                  <a:lnTo>
                    <a:pt x="1" y="28250"/>
                  </a:lnTo>
                  <a:lnTo>
                    <a:pt x="16310" y="37655"/>
                  </a:lnTo>
                  <a:lnTo>
                    <a:pt x="32620" y="28250"/>
                  </a:lnTo>
                  <a:lnTo>
                    <a:pt x="32620" y="9407"/>
                  </a:lnTo>
                  <a:lnTo>
                    <a:pt x="16310" y="1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" name="Google Shape;2147;p24">
              <a:extLst>
                <a:ext uri="{FF2B5EF4-FFF2-40B4-BE49-F238E27FC236}">
                  <a16:creationId xmlns:a16="http://schemas.microsoft.com/office/drawing/2014/main" id="{22813E13-D40D-C0F9-28F0-424E7A1FFBF0}"/>
                </a:ext>
              </a:extLst>
            </p:cNvPr>
            <p:cNvSpPr/>
            <p:nvPr/>
          </p:nvSpPr>
          <p:spPr>
            <a:xfrm>
              <a:off x="6999056" y="2999727"/>
              <a:ext cx="1061883" cy="1225680"/>
            </a:xfrm>
            <a:custGeom>
              <a:avLst/>
              <a:gdLst/>
              <a:ahLst/>
              <a:cxnLst/>
              <a:rect l="l" t="t" r="r" b="b"/>
              <a:pathLst>
                <a:path w="30593" h="35312" extrusionOk="0">
                  <a:moveTo>
                    <a:pt x="15296" y="1"/>
                  </a:moveTo>
                  <a:lnTo>
                    <a:pt x="0" y="8836"/>
                  </a:lnTo>
                  <a:lnTo>
                    <a:pt x="0" y="26508"/>
                  </a:lnTo>
                  <a:lnTo>
                    <a:pt x="15296" y="35312"/>
                  </a:lnTo>
                  <a:lnTo>
                    <a:pt x="30593" y="26508"/>
                  </a:lnTo>
                  <a:lnTo>
                    <a:pt x="30593" y="8836"/>
                  </a:lnTo>
                  <a:lnTo>
                    <a:pt x="15296" y="1"/>
                  </a:ln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08D85636-F086-80F7-A0A3-DF98A649688D}"/>
              </a:ext>
            </a:extLst>
          </p:cNvPr>
          <p:cNvSpPr txBox="1"/>
          <p:nvPr/>
        </p:nvSpPr>
        <p:spPr>
          <a:xfrm>
            <a:off x="8619986" y="3528982"/>
            <a:ext cx="1719899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/>
              <a:t>AI Solution Use Case</a:t>
            </a:r>
          </a:p>
          <a:p>
            <a:r>
              <a:rPr lang="de-AT" sz="1200" dirty="0" err="1"/>
              <a:t>GenAI</a:t>
            </a:r>
            <a:r>
              <a:rPr lang="de-AT" sz="1200" dirty="0"/>
              <a:t> Use Case</a:t>
            </a: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0D617920-CE3B-7407-C0E9-7AEC7812E08E}"/>
              </a:ext>
            </a:extLst>
          </p:cNvPr>
          <p:cNvSpPr txBox="1"/>
          <p:nvPr/>
        </p:nvSpPr>
        <p:spPr>
          <a:xfrm>
            <a:off x="2106013" y="3252530"/>
            <a:ext cx="227109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/>
              <a:t>Confirm</a:t>
            </a:r>
            <a:r>
              <a:rPr lang="de-DE" sz="1400" b="1" dirty="0"/>
              <a:t> AI Use Case</a:t>
            </a:r>
          </a:p>
          <a:p>
            <a:r>
              <a:rPr lang="de-DE" sz="1200" dirty="0"/>
              <a:t>AI Solution Team </a:t>
            </a:r>
            <a:r>
              <a:rPr lang="de-DE" sz="1200" dirty="0" err="1"/>
              <a:t>investigates</a:t>
            </a:r>
            <a:r>
              <a:rPr lang="de-DE" sz="1200" dirty="0"/>
              <a:t> Use </a:t>
            </a:r>
          </a:p>
          <a:p>
            <a:r>
              <a:rPr lang="de-DE" sz="1200" dirty="0"/>
              <a:t>Case and  </a:t>
            </a:r>
            <a:r>
              <a:rPr lang="de-DE" sz="1200" dirty="0" err="1"/>
              <a:t>confirms</a:t>
            </a:r>
            <a:r>
              <a:rPr lang="de-DE" sz="1200" dirty="0"/>
              <a:t> </a:t>
            </a:r>
            <a:r>
              <a:rPr lang="de-DE" sz="1200" dirty="0" err="1"/>
              <a:t>that</a:t>
            </a:r>
            <a:r>
              <a:rPr lang="de-DE" sz="1200" dirty="0"/>
              <a:t> </a:t>
            </a:r>
            <a:r>
              <a:rPr lang="de-DE" sz="1200" dirty="0" err="1"/>
              <a:t>it</a:t>
            </a:r>
            <a:r>
              <a:rPr lang="de-DE" sz="1200" dirty="0"/>
              <a:t> </a:t>
            </a:r>
            <a:r>
              <a:rPr lang="de-DE" sz="1200" dirty="0" err="1"/>
              <a:t>can</a:t>
            </a:r>
            <a:r>
              <a:rPr lang="de-DE" sz="1200" dirty="0"/>
              <a:t> </a:t>
            </a:r>
            <a:r>
              <a:rPr lang="de-DE" sz="1200" dirty="0" err="1"/>
              <a:t>be</a:t>
            </a:r>
            <a:r>
              <a:rPr lang="de-DE" sz="1200" dirty="0"/>
              <a:t> </a:t>
            </a:r>
            <a:r>
              <a:rPr lang="de-DE" sz="1200" dirty="0" err="1"/>
              <a:t>considered</a:t>
            </a:r>
            <a:r>
              <a:rPr lang="de-DE" sz="1200" dirty="0"/>
              <a:t> </a:t>
            </a:r>
            <a:r>
              <a:rPr lang="de-DE" sz="1200" dirty="0" err="1"/>
              <a:t>as</a:t>
            </a:r>
            <a:r>
              <a:rPr lang="de-DE" sz="1200" dirty="0"/>
              <a:t> AI Use Case</a:t>
            </a: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1D1A2C25-A0B0-B683-72AB-35840CE58039}"/>
              </a:ext>
            </a:extLst>
          </p:cNvPr>
          <p:cNvSpPr txBox="1"/>
          <p:nvPr/>
        </p:nvSpPr>
        <p:spPr>
          <a:xfrm>
            <a:off x="2113113" y="4967635"/>
            <a:ext cx="2271092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/>
              <a:t>Data Screening</a:t>
            </a:r>
          </a:p>
          <a:p>
            <a:r>
              <a:rPr lang="de-DE" sz="1200" dirty="0"/>
              <a:t>AI Solution Team and Stakeholder </a:t>
            </a:r>
            <a:r>
              <a:rPr lang="de-DE" sz="1200" dirty="0" err="1"/>
              <a:t>define</a:t>
            </a:r>
            <a:r>
              <a:rPr lang="de-DE" sz="1200" dirty="0"/>
              <a:t> Data </a:t>
            </a:r>
            <a:r>
              <a:rPr lang="de-DE" sz="1200" dirty="0" err="1"/>
              <a:t>requirements</a:t>
            </a:r>
            <a:endParaRPr lang="de-DE" sz="1200" dirty="0"/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54422BC4-18D2-729F-8464-4A432A40F2DF}"/>
              </a:ext>
            </a:extLst>
          </p:cNvPr>
          <p:cNvSpPr txBox="1"/>
          <p:nvPr/>
        </p:nvSpPr>
        <p:spPr>
          <a:xfrm>
            <a:off x="6944291" y="1905161"/>
            <a:ext cx="227109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/>
              <a:t>Dispatching</a:t>
            </a:r>
            <a:endParaRPr lang="de-DE" sz="1400" b="1" dirty="0"/>
          </a:p>
          <a:p>
            <a:r>
              <a:rPr lang="de-DE" sz="1200" dirty="0" err="1"/>
              <a:t>Based</a:t>
            </a:r>
            <a:r>
              <a:rPr lang="de-DE" sz="1200" dirty="0"/>
              <a:t> on Use Case </a:t>
            </a:r>
            <a:r>
              <a:rPr lang="de-DE" sz="1200" dirty="0" err="1"/>
              <a:t>Requirement</a:t>
            </a:r>
            <a:r>
              <a:rPr lang="de-DE" sz="1200" dirty="0"/>
              <a:t> and Data </a:t>
            </a:r>
            <a:r>
              <a:rPr lang="de-DE" sz="1200" dirty="0" err="1"/>
              <a:t>Requirment</a:t>
            </a:r>
            <a:r>
              <a:rPr lang="de-DE" sz="1200" dirty="0"/>
              <a:t>, Use Case </a:t>
            </a:r>
            <a:r>
              <a:rPr lang="de-DE" sz="1200" dirty="0" err="1"/>
              <a:t>is</a:t>
            </a:r>
            <a:r>
              <a:rPr lang="de-DE" sz="1200" dirty="0"/>
              <a:t> </a:t>
            </a:r>
            <a:r>
              <a:rPr lang="de-DE" sz="1200" dirty="0" err="1"/>
              <a:t>dispatched</a:t>
            </a:r>
            <a:endParaRPr lang="de-DE" sz="1200" dirty="0"/>
          </a:p>
        </p:txBody>
      </p: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1FD42053-4C0C-70C7-8968-23E3634D5F6F}"/>
              </a:ext>
            </a:extLst>
          </p:cNvPr>
          <p:cNvGrpSpPr/>
          <p:nvPr/>
        </p:nvGrpSpPr>
        <p:grpSpPr>
          <a:xfrm>
            <a:off x="5264893" y="4824079"/>
            <a:ext cx="532992" cy="615411"/>
            <a:chOff x="6883645" y="2865642"/>
            <a:chExt cx="1293815" cy="1493884"/>
          </a:xfrm>
        </p:grpSpPr>
        <p:sp>
          <p:nvSpPr>
            <p:cNvPr id="151" name="Google Shape;2143;p24">
              <a:extLst>
                <a:ext uri="{FF2B5EF4-FFF2-40B4-BE49-F238E27FC236}">
                  <a16:creationId xmlns:a16="http://schemas.microsoft.com/office/drawing/2014/main" id="{1D43BCF2-9261-D91A-3BC0-F09EEB40DA6C}"/>
                </a:ext>
              </a:extLst>
            </p:cNvPr>
            <p:cNvSpPr/>
            <p:nvPr/>
          </p:nvSpPr>
          <p:spPr>
            <a:xfrm>
              <a:off x="6883645" y="2865642"/>
              <a:ext cx="1293815" cy="1493884"/>
            </a:xfrm>
            <a:custGeom>
              <a:avLst/>
              <a:gdLst/>
              <a:ahLst/>
              <a:cxnLst/>
              <a:rect l="l" t="t" r="r" b="b"/>
              <a:pathLst>
                <a:path w="37275" h="43039" extrusionOk="0">
                  <a:moveTo>
                    <a:pt x="18621" y="507"/>
                  </a:moveTo>
                  <a:lnTo>
                    <a:pt x="36831" y="11021"/>
                  </a:lnTo>
                  <a:lnTo>
                    <a:pt x="36831" y="32017"/>
                  </a:lnTo>
                  <a:lnTo>
                    <a:pt x="18621" y="42531"/>
                  </a:lnTo>
                  <a:lnTo>
                    <a:pt x="412" y="32017"/>
                  </a:lnTo>
                  <a:lnTo>
                    <a:pt x="412" y="11021"/>
                  </a:lnTo>
                  <a:lnTo>
                    <a:pt x="18621" y="507"/>
                  </a:lnTo>
                  <a:close/>
                  <a:moveTo>
                    <a:pt x="18621" y="0"/>
                  </a:moveTo>
                  <a:lnTo>
                    <a:pt x="0" y="10768"/>
                  </a:lnTo>
                  <a:lnTo>
                    <a:pt x="0" y="32271"/>
                  </a:lnTo>
                  <a:lnTo>
                    <a:pt x="18621" y="43038"/>
                  </a:lnTo>
                  <a:lnTo>
                    <a:pt x="37275" y="32271"/>
                  </a:lnTo>
                  <a:lnTo>
                    <a:pt x="37275" y="10768"/>
                  </a:lnTo>
                  <a:lnTo>
                    <a:pt x="18621" y="0"/>
                  </a:lnTo>
                  <a:close/>
                </a:path>
              </a:pathLst>
            </a:custGeom>
            <a:solidFill>
              <a:srgbClr val="F2A36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" name="Google Shape;2146;p24">
              <a:extLst>
                <a:ext uri="{FF2B5EF4-FFF2-40B4-BE49-F238E27FC236}">
                  <a16:creationId xmlns:a16="http://schemas.microsoft.com/office/drawing/2014/main" id="{2F1C4659-90D5-CD49-D155-20CCE65091BC}"/>
                </a:ext>
              </a:extLst>
            </p:cNvPr>
            <p:cNvSpPr/>
            <p:nvPr/>
          </p:nvSpPr>
          <p:spPr>
            <a:xfrm>
              <a:off x="6963860" y="2959047"/>
              <a:ext cx="1132275" cy="1307040"/>
            </a:xfrm>
            <a:custGeom>
              <a:avLst/>
              <a:gdLst/>
              <a:ahLst/>
              <a:cxnLst/>
              <a:rect l="l" t="t" r="r" b="b"/>
              <a:pathLst>
                <a:path w="32621" h="37656" extrusionOk="0">
                  <a:moveTo>
                    <a:pt x="16310" y="1"/>
                  </a:moveTo>
                  <a:lnTo>
                    <a:pt x="1" y="9407"/>
                  </a:lnTo>
                  <a:lnTo>
                    <a:pt x="1" y="28250"/>
                  </a:lnTo>
                  <a:lnTo>
                    <a:pt x="16310" y="37655"/>
                  </a:lnTo>
                  <a:lnTo>
                    <a:pt x="32620" y="28250"/>
                  </a:lnTo>
                  <a:lnTo>
                    <a:pt x="32620" y="9407"/>
                  </a:lnTo>
                  <a:lnTo>
                    <a:pt x="16310" y="1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" name="Google Shape;2147;p24">
              <a:extLst>
                <a:ext uri="{FF2B5EF4-FFF2-40B4-BE49-F238E27FC236}">
                  <a16:creationId xmlns:a16="http://schemas.microsoft.com/office/drawing/2014/main" id="{9FE7666C-A3C0-4E12-95FA-9B30D4957AF0}"/>
                </a:ext>
              </a:extLst>
            </p:cNvPr>
            <p:cNvSpPr/>
            <p:nvPr/>
          </p:nvSpPr>
          <p:spPr>
            <a:xfrm>
              <a:off x="6999056" y="2999727"/>
              <a:ext cx="1061883" cy="1225680"/>
            </a:xfrm>
            <a:custGeom>
              <a:avLst/>
              <a:gdLst/>
              <a:ahLst/>
              <a:cxnLst/>
              <a:rect l="l" t="t" r="r" b="b"/>
              <a:pathLst>
                <a:path w="30593" h="35312" extrusionOk="0">
                  <a:moveTo>
                    <a:pt x="15296" y="1"/>
                  </a:moveTo>
                  <a:lnTo>
                    <a:pt x="0" y="8836"/>
                  </a:lnTo>
                  <a:lnTo>
                    <a:pt x="0" y="26508"/>
                  </a:lnTo>
                  <a:lnTo>
                    <a:pt x="15296" y="35312"/>
                  </a:lnTo>
                  <a:lnTo>
                    <a:pt x="30593" y="26508"/>
                  </a:lnTo>
                  <a:lnTo>
                    <a:pt x="30593" y="8836"/>
                  </a:lnTo>
                  <a:lnTo>
                    <a:pt x="15296" y="1"/>
                  </a:ln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830174D0-E879-2D46-C121-47CE780EDFCA}"/>
              </a:ext>
            </a:extLst>
          </p:cNvPr>
          <p:cNvGrpSpPr/>
          <p:nvPr/>
        </p:nvGrpSpPr>
        <p:grpSpPr>
          <a:xfrm>
            <a:off x="5274082" y="5673608"/>
            <a:ext cx="548178" cy="632945"/>
            <a:chOff x="6883645" y="2865642"/>
            <a:chExt cx="1293815" cy="1493884"/>
          </a:xfrm>
        </p:grpSpPr>
        <p:sp>
          <p:nvSpPr>
            <p:cNvPr id="155" name="Google Shape;2143;p24">
              <a:extLst>
                <a:ext uri="{FF2B5EF4-FFF2-40B4-BE49-F238E27FC236}">
                  <a16:creationId xmlns:a16="http://schemas.microsoft.com/office/drawing/2014/main" id="{E071C30D-731E-36FF-C0BA-335D4FE122F1}"/>
                </a:ext>
              </a:extLst>
            </p:cNvPr>
            <p:cNvSpPr/>
            <p:nvPr/>
          </p:nvSpPr>
          <p:spPr>
            <a:xfrm>
              <a:off x="6883645" y="2865642"/>
              <a:ext cx="1293815" cy="1493884"/>
            </a:xfrm>
            <a:custGeom>
              <a:avLst/>
              <a:gdLst/>
              <a:ahLst/>
              <a:cxnLst/>
              <a:rect l="l" t="t" r="r" b="b"/>
              <a:pathLst>
                <a:path w="37275" h="43039" extrusionOk="0">
                  <a:moveTo>
                    <a:pt x="18621" y="507"/>
                  </a:moveTo>
                  <a:lnTo>
                    <a:pt x="36831" y="11021"/>
                  </a:lnTo>
                  <a:lnTo>
                    <a:pt x="36831" y="32017"/>
                  </a:lnTo>
                  <a:lnTo>
                    <a:pt x="18621" y="42531"/>
                  </a:lnTo>
                  <a:lnTo>
                    <a:pt x="412" y="32017"/>
                  </a:lnTo>
                  <a:lnTo>
                    <a:pt x="412" y="11021"/>
                  </a:lnTo>
                  <a:lnTo>
                    <a:pt x="18621" y="507"/>
                  </a:lnTo>
                  <a:close/>
                  <a:moveTo>
                    <a:pt x="18621" y="0"/>
                  </a:moveTo>
                  <a:lnTo>
                    <a:pt x="0" y="10768"/>
                  </a:lnTo>
                  <a:lnTo>
                    <a:pt x="0" y="32271"/>
                  </a:lnTo>
                  <a:lnTo>
                    <a:pt x="18621" y="43038"/>
                  </a:lnTo>
                  <a:lnTo>
                    <a:pt x="37275" y="32271"/>
                  </a:lnTo>
                  <a:lnTo>
                    <a:pt x="37275" y="10768"/>
                  </a:lnTo>
                  <a:lnTo>
                    <a:pt x="18621" y="0"/>
                  </a:lnTo>
                  <a:close/>
                </a:path>
              </a:pathLst>
            </a:custGeom>
            <a:solidFill>
              <a:srgbClr val="F2A36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" name="Google Shape;2146;p24">
              <a:extLst>
                <a:ext uri="{FF2B5EF4-FFF2-40B4-BE49-F238E27FC236}">
                  <a16:creationId xmlns:a16="http://schemas.microsoft.com/office/drawing/2014/main" id="{1CF6BDC7-25D8-D5D5-E601-23914B267DC9}"/>
                </a:ext>
              </a:extLst>
            </p:cNvPr>
            <p:cNvSpPr/>
            <p:nvPr/>
          </p:nvSpPr>
          <p:spPr>
            <a:xfrm>
              <a:off x="6963860" y="2959047"/>
              <a:ext cx="1132275" cy="1307040"/>
            </a:xfrm>
            <a:custGeom>
              <a:avLst/>
              <a:gdLst/>
              <a:ahLst/>
              <a:cxnLst/>
              <a:rect l="l" t="t" r="r" b="b"/>
              <a:pathLst>
                <a:path w="32621" h="37656" extrusionOk="0">
                  <a:moveTo>
                    <a:pt x="16310" y="1"/>
                  </a:moveTo>
                  <a:lnTo>
                    <a:pt x="1" y="9407"/>
                  </a:lnTo>
                  <a:lnTo>
                    <a:pt x="1" y="28250"/>
                  </a:lnTo>
                  <a:lnTo>
                    <a:pt x="16310" y="37655"/>
                  </a:lnTo>
                  <a:lnTo>
                    <a:pt x="32620" y="28250"/>
                  </a:lnTo>
                  <a:lnTo>
                    <a:pt x="32620" y="9407"/>
                  </a:lnTo>
                  <a:lnTo>
                    <a:pt x="16310" y="1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" name="Google Shape;2147;p24">
              <a:extLst>
                <a:ext uri="{FF2B5EF4-FFF2-40B4-BE49-F238E27FC236}">
                  <a16:creationId xmlns:a16="http://schemas.microsoft.com/office/drawing/2014/main" id="{4E572231-F5BF-AAC1-2664-FBBCCE649D14}"/>
                </a:ext>
              </a:extLst>
            </p:cNvPr>
            <p:cNvSpPr/>
            <p:nvPr/>
          </p:nvSpPr>
          <p:spPr>
            <a:xfrm>
              <a:off x="6999056" y="2999727"/>
              <a:ext cx="1061883" cy="1225680"/>
            </a:xfrm>
            <a:custGeom>
              <a:avLst/>
              <a:gdLst/>
              <a:ahLst/>
              <a:cxnLst/>
              <a:rect l="l" t="t" r="r" b="b"/>
              <a:pathLst>
                <a:path w="30593" h="35312" extrusionOk="0">
                  <a:moveTo>
                    <a:pt x="15296" y="1"/>
                  </a:moveTo>
                  <a:lnTo>
                    <a:pt x="0" y="8836"/>
                  </a:lnTo>
                  <a:lnTo>
                    <a:pt x="0" y="26508"/>
                  </a:lnTo>
                  <a:lnTo>
                    <a:pt x="15296" y="35312"/>
                  </a:lnTo>
                  <a:lnTo>
                    <a:pt x="30593" y="26508"/>
                  </a:lnTo>
                  <a:lnTo>
                    <a:pt x="30593" y="8836"/>
                  </a:lnTo>
                  <a:lnTo>
                    <a:pt x="15296" y="1"/>
                  </a:ln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8" name="Group 157">
            <a:extLst>
              <a:ext uri="{FF2B5EF4-FFF2-40B4-BE49-F238E27FC236}">
                <a16:creationId xmlns:a16="http://schemas.microsoft.com/office/drawing/2014/main" id="{20F8E55A-8768-65CC-FED3-137F2FEF5DAA}"/>
              </a:ext>
            </a:extLst>
          </p:cNvPr>
          <p:cNvGrpSpPr/>
          <p:nvPr/>
        </p:nvGrpSpPr>
        <p:grpSpPr>
          <a:xfrm>
            <a:off x="7790424" y="3264250"/>
            <a:ext cx="861415" cy="994620"/>
            <a:chOff x="6883645" y="2865642"/>
            <a:chExt cx="1293815" cy="1493884"/>
          </a:xfrm>
        </p:grpSpPr>
        <p:sp>
          <p:nvSpPr>
            <p:cNvPr id="159" name="Google Shape;2143;p24">
              <a:extLst>
                <a:ext uri="{FF2B5EF4-FFF2-40B4-BE49-F238E27FC236}">
                  <a16:creationId xmlns:a16="http://schemas.microsoft.com/office/drawing/2014/main" id="{A50762D2-B810-1CA8-C65D-2F76E48BCF2D}"/>
                </a:ext>
              </a:extLst>
            </p:cNvPr>
            <p:cNvSpPr/>
            <p:nvPr/>
          </p:nvSpPr>
          <p:spPr>
            <a:xfrm>
              <a:off x="6883645" y="2865642"/>
              <a:ext cx="1293815" cy="1493884"/>
            </a:xfrm>
            <a:custGeom>
              <a:avLst/>
              <a:gdLst/>
              <a:ahLst/>
              <a:cxnLst/>
              <a:rect l="l" t="t" r="r" b="b"/>
              <a:pathLst>
                <a:path w="37275" h="43039" extrusionOk="0">
                  <a:moveTo>
                    <a:pt x="18621" y="507"/>
                  </a:moveTo>
                  <a:lnTo>
                    <a:pt x="36831" y="11021"/>
                  </a:lnTo>
                  <a:lnTo>
                    <a:pt x="36831" y="32017"/>
                  </a:lnTo>
                  <a:lnTo>
                    <a:pt x="18621" y="42531"/>
                  </a:lnTo>
                  <a:lnTo>
                    <a:pt x="412" y="32017"/>
                  </a:lnTo>
                  <a:lnTo>
                    <a:pt x="412" y="11021"/>
                  </a:lnTo>
                  <a:lnTo>
                    <a:pt x="18621" y="507"/>
                  </a:lnTo>
                  <a:close/>
                  <a:moveTo>
                    <a:pt x="18621" y="0"/>
                  </a:moveTo>
                  <a:lnTo>
                    <a:pt x="0" y="10768"/>
                  </a:lnTo>
                  <a:lnTo>
                    <a:pt x="0" y="32271"/>
                  </a:lnTo>
                  <a:lnTo>
                    <a:pt x="18621" y="43038"/>
                  </a:lnTo>
                  <a:lnTo>
                    <a:pt x="37275" y="32271"/>
                  </a:lnTo>
                  <a:lnTo>
                    <a:pt x="37275" y="10768"/>
                  </a:lnTo>
                  <a:lnTo>
                    <a:pt x="18621" y="0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160" name="Google Shape;2146;p24">
              <a:extLst>
                <a:ext uri="{FF2B5EF4-FFF2-40B4-BE49-F238E27FC236}">
                  <a16:creationId xmlns:a16="http://schemas.microsoft.com/office/drawing/2014/main" id="{A0B0F590-9873-FF38-BE94-4C02CFEE9C05}"/>
                </a:ext>
              </a:extLst>
            </p:cNvPr>
            <p:cNvSpPr/>
            <p:nvPr/>
          </p:nvSpPr>
          <p:spPr>
            <a:xfrm>
              <a:off x="6963860" y="2959047"/>
              <a:ext cx="1132275" cy="1307040"/>
            </a:xfrm>
            <a:custGeom>
              <a:avLst/>
              <a:gdLst/>
              <a:ahLst/>
              <a:cxnLst/>
              <a:rect l="l" t="t" r="r" b="b"/>
              <a:pathLst>
                <a:path w="32621" h="37656" extrusionOk="0">
                  <a:moveTo>
                    <a:pt x="16310" y="1"/>
                  </a:moveTo>
                  <a:lnTo>
                    <a:pt x="1" y="9407"/>
                  </a:lnTo>
                  <a:lnTo>
                    <a:pt x="1" y="28250"/>
                  </a:lnTo>
                  <a:lnTo>
                    <a:pt x="16310" y="37655"/>
                  </a:lnTo>
                  <a:lnTo>
                    <a:pt x="32620" y="28250"/>
                  </a:lnTo>
                  <a:lnTo>
                    <a:pt x="32620" y="9407"/>
                  </a:lnTo>
                  <a:lnTo>
                    <a:pt x="16310" y="1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1" name="Google Shape;2147;p24">
              <a:extLst>
                <a:ext uri="{FF2B5EF4-FFF2-40B4-BE49-F238E27FC236}">
                  <a16:creationId xmlns:a16="http://schemas.microsoft.com/office/drawing/2014/main" id="{89B4A50A-7C73-291B-E0E5-447CA8C74D82}"/>
                </a:ext>
              </a:extLst>
            </p:cNvPr>
            <p:cNvSpPr/>
            <p:nvPr/>
          </p:nvSpPr>
          <p:spPr>
            <a:xfrm>
              <a:off x="6999056" y="2999727"/>
              <a:ext cx="1061883" cy="1225680"/>
            </a:xfrm>
            <a:custGeom>
              <a:avLst/>
              <a:gdLst/>
              <a:ahLst/>
              <a:cxnLst/>
              <a:rect l="l" t="t" r="r" b="b"/>
              <a:pathLst>
                <a:path w="30593" h="35312" extrusionOk="0">
                  <a:moveTo>
                    <a:pt x="15296" y="1"/>
                  </a:moveTo>
                  <a:lnTo>
                    <a:pt x="0" y="8836"/>
                  </a:lnTo>
                  <a:lnTo>
                    <a:pt x="0" y="26508"/>
                  </a:lnTo>
                  <a:lnTo>
                    <a:pt x="15296" y="35312"/>
                  </a:lnTo>
                  <a:lnTo>
                    <a:pt x="30593" y="26508"/>
                  </a:lnTo>
                  <a:lnTo>
                    <a:pt x="30593" y="8836"/>
                  </a:lnTo>
                  <a:lnTo>
                    <a:pt x="15296" y="1"/>
                  </a:ln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6" name="Group 165">
            <a:extLst>
              <a:ext uri="{FF2B5EF4-FFF2-40B4-BE49-F238E27FC236}">
                <a16:creationId xmlns:a16="http://schemas.microsoft.com/office/drawing/2014/main" id="{C6FC7F14-4430-A3C7-9376-24696715A013}"/>
              </a:ext>
            </a:extLst>
          </p:cNvPr>
          <p:cNvGrpSpPr/>
          <p:nvPr/>
        </p:nvGrpSpPr>
        <p:grpSpPr>
          <a:xfrm>
            <a:off x="5355910" y="4985953"/>
            <a:ext cx="346706" cy="332759"/>
            <a:chOff x="7104369" y="5162387"/>
            <a:chExt cx="928795" cy="891432"/>
          </a:xfrm>
        </p:grpSpPr>
        <p:sp>
          <p:nvSpPr>
            <p:cNvPr id="163" name="Google Shape;2079;p23">
              <a:extLst>
                <a:ext uri="{FF2B5EF4-FFF2-40B4-BE49-F238E27FC236}">
                  <a16:creationId xmlns:a16="http://schemas.microsoft.com/office/drawing/2014/main" id="{ED4BA7E5-B117-AE30-343B-EE49E7BE30EE}"/>
                </a:ext>
              </a:extLst>
            </p:cNvPr>
            <p:cNvSpPr/>
            <p:nvPr/>
          </p:nvSpPr>
          <p:spPr>
            <a:xfrm>
              <a:off x="7104369" y="5162387"/>
              <a:ext cx="928795" cy="891432"/>
            </a:xfrm>
            <a:custGeom>
              <a:avLst/>
              <a:gdLst/>
              <a:ahLst/>
              <a:cxnLst/>
              <a:rect l="l" t="t" r="r" b="b"/>
              <a:pathLst>
                <a:path w="20459" h="19636" extrusionOk="0">
                  <a:moveTo>
                    <a:pt x="15106" y="0"/>
                  </a:moveTo>
                  <a:cubicBezTo>
                    <a:pt x="14093" y="0"/>
                    <a:pt x="13238" y="824"/>
                    <a:pt x="13238" y="1869"/>
                  </a:cubicBezTo>
                  <a:cubicBezTo>
                    <a:pt x="13238" y="2344"/>
                    <a:pt x="13428" y="2756"/>
                    <a:pt x="13713" y="3104"/>
                  </a:cubicBezTo>
                  <a:lnTo>
                    <a:pt x="10831" y="7728"/>
                  </a:lnTo>
                  <a:lnTo>
                    <a:pt x="10609" y="9628"/>
                  </a:lnTo>
                  <a:lnTo>
                    <a:pt x="8266" y="9818"/>
                  </a:lnTo>
                  <a:lnTo>
                    <a:pt x="3389" y="11496"/>
                  </a:lnTo>
                  <a:cubicBezTo>
                    <a:pt x="3072" y="10989"/>
                    <a:pt x="2502" y="10641"/>
                    <a:pt x="1869" y="10641"/>
                  </a:cubicBezTo>
                  <a:cubicBezTo>
                    <a:pt x="824" y="10641"/>
                    <a:pt x="0" y="11464"/>
                    <a:pt x="0" y="12478"/>
                  </a:cubicBezTo>
                  <a:cubicBezTo>
                    <a:pt x="0" y="13491"/>
                    <a:pt x="824" y="14346"/>
                    <a:pt x="1869" y="14346"/>
                  </a:cubicBezTo>
                  <a:cubicBezTo>
                    <a:pt x="2882" y="14346"/>
                    <a:pt x="3706" y="13491"/>
                    <a:pt x="3706" y="12478"/>
                  </a:cubicBezTo>
                  <a:cubicBezTo>
                    <a:pt x="3706" y="12478"/>
                    <a:pt x="3706" y="12446"/>
                    <a:pt x="3706" y="12446"/>
                  </a:cubicBezTo>
                  <a:lnTo>
                    <a:pt x="8488" y="10799"/>
                  </a:lnTo>
                  <a:lnTo>
                    <a:pt x="10514" y="10641"/>
                  </a:lnTo>
                  <a:lnTo>
                    <a:pt x="10356" y="11971"/>
                  </a:lnTo>
                  <a:lnTo>
                    <a:pt x="11243" y="16215"/>
                  </a:lnTo>
                  <a:cubicBezTo>
                    <a:pt x="10704" y="16563"/>
                    <a:pt x="10356" y="17133"/>
                    <a:pt x="10356" y="17798"/>
                  </a:cubicBezTo>
                  <a:cubicBezTo>
                    <a:pt x="10356" y="18812"/>
                    <a:pt x="11211" y="19635"/>
                    <a:pt x="12225" y="19635"/>
                  </a:cubicBezTo>
                  <a:cubicBezTo>
                    <a:pt x="13238" y="19635"/>
                    <a:pt x="14061" y="18812"/>
                    <a:pt x="14061" y="17798"/>
                  </a:cubicBezTo>
                  <a:cubicBezTo>
                    <a:pt x="14061" y="16785"/>
                    <a:pt x="13238" y="15930"/>
                    <a:pt x="12225" y="15930"/>
                  </a:cubicBezTo>
                  <a:cubicBezTo>
                    <a:pt x="12193" y="15930"/>
                    <a:pt x="11370" y="11940"/>
                    <a:pt x="11370" y="11940"/>
                  </a:cubicBezTo>
                  <a:lnTo>
                    <a:pt x="11528" y="10546"/>
                  </a:lnTo>
                  <a:lnTo>
                    <a:pt x="13238" y="10419"/>
                  </a:lnTo>
                  <a:lnTo>
                    <a:pt x="16785" y="10799"/>
                  </a:lnTo>
                  <a:cubicBezTo>
                    <a:pt x="16975" y="11623"/>
                    <a:pt x="17703" y="12256"/>
                    <a:pt x="18590" y="12256"/>
                  </a:cubicBezTo>
                  <a:cubicBezTo>
                    <a:pt x="19604" y="12256"/>
                    <a:pt x="20459" y="11433"/>
                    <a:pt x="20459" y="10419"/>
                  </a:cubicBezTo>
                  <a:cubicBezTo>
                    <a:pt x="20459" y="9406"/>
                    <a:pt x="19604" y="8583"/>
                    <a:pt x="18590" y="8583"/>
                  </a:cubicBezTo>
                  <a:cubicBezTo>
                    <a:pt x="17798" y="8583"/>
                    <a:pt x="17102" y="9089"/>
                    <a:pt x="16848" y="9818"/>
                  </a:cubicBezTo>
                  <a:lnTo>
                    <a:pt x="13270" y="9406"/>
                  </a:lnTo>
                  <a:lnTo>
                    <a:pt x="11623" y="9533"/>
                  </a:lnTo>
                  <a:lnTo>
                    <a:pt x="11813" y="8044"/>
                  </a:lnTo>
                  <a:lnTo>
                    <a:pt x="14568" y="3611"/>
                  </a:lnTo>
                  <a:cubicBezTo>
                    <a:pt x="14726" y="3674"/>
                    <a:pt x="14916" y="3706"/>
                    <a:pt x="15106" y="3706"/>
                  </a:cubicBezTo>
                  <a:cubicBezTo>
                    <a:pt x="16120" y="3706"/>
                    <a:pt x="16943" y="2882"/>
                    <a:pt x="16943" y="1869"/>
                  </a:cubicBezTo>
                  <a:cubicBezTo>
                    <a:pt x="16943" y="824"/>
                    <a:pt x="16120" y="0"/>
                    <a:pt x="15106" y="0"/>
                  </a:cubicBezTo>
                  <a:close/>
                </a:path>
              </a:pathLst>
            </a:custGeom>
            <a:solidFill>
              <a:srgbClr val="F2A36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" name="Google Shape;2081;p23">
              <a:extLst>
                <a:ext uri="{FF2B5EF4-FFF2-40B4-BE49-F238E27FC236}">
                  <a16:creationId xmlns:a16="http://schemas.microsoft.com/office/drawing/2014/main" id="{AF85EB7E-E317-260C-212C-CA8BE4F55C60}"/>
                </a:ext>
              </a:extLst>
            </p:cNvPr>
            <p:cNvSpPr/>
            <p:nvPr/>
          </p:nvSpPr>
          <p:spPr>
            <a:xfrm>
              <a:off x="7433593" y="5457110"/>
              <a:ext cx="283282" cy="281830"/>
            </a:xfrm>
            <a:custGeom>
              <a:avLst/>
              <a:gdLst/>
              <a:ahLst/>
              <a:cxnLst/>
              <a:rect l="l" t="t" r="r" b="b"/>
              <a:pathLst>
                <a:path w="6240" h="6208" extrusionOk="0">
                  <a:moveTo>
                    <a:pt x="3104" y="0"/>
                  </a:moveTo>
                  <a:cubicBezTo>
                    <a:pt x="1394" y="0"/>
                    <a:pt x="1" y="1394"/>
                    <a:pt x="1" y="3104"/>
                  </a:cubicBezTo>
                  <a:cubicBezTo>
                    <a:pt x="1" y="4846"/>
                    <a:pt x="1394" y="6208"/>
                    <a:pt x="3104" y="6208"/>
                  </a:cubicBezTo>
                  <a:cubicBezTo>
                    <a:pt x="4846" y="6208"/>
                    <a:pt x="6239" y="4846"/>
                    <a:pt x="6239" y="3104"/>
                  </a:cubicBezTo>
                  <a:cubicBezTo>
                    <a:pt x="6239" y="1394"/>
                    <a:pt x="4846" y="0"/>
                    <a:pt x="3104" y="0"/>
                  </a:cubicBez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165" name="Google Shape;2080;p23">
              <a:extLst>
                <a:ext uri="{FF2B5EF4-FFF2-40B4-BE49-F238E27FC236}">
                  <a16:creationId xmlns:a16="http://schemas.microsoft.com/office/drawing/2014/main" id="{115628E5-FE0F-0F11-D908-FF83DA73F158}"/>
                </a:ext>
              </a:extLst>
            </p:cNvPr>
            <p:cNvSpPr/>
            <p:nvPr/>
          </p:nvSpPr>
          <p:spPr>
            <a:xfrm>
              <a:off x="7201405" y="5268645"/>
              <a:ext cx="277517" cy="270298"/>
            </a:xfrm>
            <a:custGeom>
              <a:avLst/>
              <a:gdLst/>
              <a:ahLst/>
              <a:cxnLst/>
              <a:rect l="l" t="t" r="r" b="b"/>
              <a:pathLst>
                <a:path w="6113" h="5954" extrusionOk="0">
                  <a:moveTo>
                    <a:pt x="1837" y="0"/>
                  </a:moveTo>
                  <a:cubicBezTo>
                    <a:pt x="824" y="0"/>
                    <a:pt x="0" y="824"/>
                    <a:pt x="0" y="1837"/>
                  </a:cubicBezTo>
                  <a:cubicBezTo>
                    <a:pt x="0" y="2850"/>
                    <a:pt x="824" y="3674"/>
                    <a:pt x="1837" y="3674"/>
                  </a:cubicBezTo>
                  <a:cubicBezTo>
                    <a:pt x="2185" y="3674"/>
                    <a:pt x="2502" y="3579"/>
                    <a:pt x="2787" y="3420"/>
                  </a:cubicBezTo>
                  <a:lnTo>
                    <a:pt x="5416" y="5954"/>
                  </a:lnTo>
                  <a:lnTo>
                    <a:pt x="6112" y="5226"/>
                  </a:lnTo>
                  <a:lnTo>
                    <a:pt x="3452" y="2692"/>
                  </a:lnTo>
                  <a:cubicBezTo>
                    <a:pt x="3611" y="2439"/>
                    <a:pt x="3674" y="2154"/>
                    <a:pt x="3674" y="1837"/>
                  </a:cubicBezTo>
                  <a:cubicBezTo>
                    <a:pt x="3674" y="824"/>
                    <a:pt x="2850" y="0"/>
                    <a:pt x="1837" y="0"/>
                  </a:cubicBezTo>
                  <a:close/>
                </a:path>
              </a:pathLst>
            </a:custGeom>
            <a:solidFill>
              <a:srgbClr val="F2A36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589" name="Google Shape;2179;p24">
            <a:extLst>
              <a:ext uri="{FF2B5EF4-FFF2-40B4-BE49-F238E27FC236}">
                <a16:creationId xmlns:a16="http://schemas.microsoft.com/office/drawing/2014/main" id="{A3276AA7-F124-629E-B55A-AC3A347A9A33}"/>
              </a:ext>
            </a:extLst>
          </p:cNvPr>
          <p:cNvSpPr/>
          <p:nvPr/>
        </p:nvSpPr>
        <p:spPr>
          <a:xfrm>
            <a:off x="7791348" y="4608070"/>
            <a:ext cx="861149" cy="994312"/>
          </a:xfrm>
          <a:custGeom>
            <a:avLst/>
            <a:gdLst/>
            <a:ahLst/>
            <a:cxnLst/>
            <a:rect l="l" t="t" r="r" b="b"/>
            <a:pathLst>
              <a:path w="37275" h="43039" extrusionOk="0">
                <a:moveTo>
                  <a:pt x="18653" y="476"/>
                </a:moveTo>
                <a:lnTo>
                  <a:pt x="36863" y="10990"/>
                </a:lnTo>
                <a:lnTo>
                  <a:pt x="36863" y="32018"/>
                </a:lnTo>
                <a:lnTo>
                  <a:pt x="18653" y="42532"/>
                </a:lnTo>
                <a:lnTo>
                  <a:pt x="444" y="32018"/>
                </a:lnTo>
                <a:lnTo>
                  <a:pt x="444" y="10990"/>
                </a:lnTo>
                <a:lnTo>
                  <a:pt x="18653" y="476"/>
                </a:lnTo>
                <a:close/>
                <a:moveTo>
                  <a:pt x="18653" y="1"/>
                </a:moveTo>
                <a:lnTo>
                  <a:pt x="127" y="10673"/>
                </a:lnTo>
                <a:lnTo>
                  <a:pt x="0" y="10737"/>
                </a:lnTo>
                <a:lnTo>
                  <a:pt x="0" y="32271"/>
                </a:lnTo>
                <a:lnTo>
                  <a:pt x="18653" y="43039"/>
                </a:lnTo>
                <a:lnTo>
                  <a:pt x="37180" y="32335"/>
                </a:lnTo>
                <a:lnTo>
                  <a:pt x="37275" y="32271"/>
                </a:lnTo>
                <a:lnTo>
                  <a:pt x="37275" y="10737"/>
                </a:lnTo>
                <a:lnTo>
                  <a:pt x="18653" y="1"/>
                </a:lnTo>
                <a:close/>
              </a:path>
            </a:pathLst>
          </a:custGeom>
          <a:solidFill>
            <a:srgbClr val="AAAAAA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590" name="Google Shape;2193;p24">
            <a:extLst>
              <a:ext uri="{FF2B5EF4-FFF2-40B4-BE49-F238E27FC236}">
                <a16:creationId xmlns:a16="http://schemas.microsoft.com/office/drawing/2014/main" id="{13A7BE54-57BD-1E47-9664-C50468B6BE57}"/>
              </a:ext>
            </a:extLst>
          </p:cNvPr>
          <p:cNvSpPr/>
          <p:nvPr/>
        </p:nvSpPr>
        <p:spPr>
          <a:xfrm>
            <a:off x="7845478" y="4669546"/>
            <a:ext cx="753606" cy="870667"/>
          </a:xfrm>
          <a:custGeom>
            <a:avLst/>
            <a:gdLst/>
            <a:ahLst/>
            <a:cxnLst/>
            <a:rect l="l" t="t" r="r" b="b"/>
            <a:pathLst>
              <a:path w="32620" h="37687" extrusionOk="0">
                <a:moveTo>
                  <a:pt x="1" y="9437"/>
                </a:moveTo>
                <a:lnTo>
                  <a:pt x="1" y="28280"/>
                </a:lnTo>
                <a:lnTo>
                  <a:pt x="16310" y="37686"/>
                </a:lnTo>
                <a:lnTo>
                  <a:pt x="32620" y="28280"/>
                </a:lnTo>
                <a:lnTo>
                  <a:pt x="32620" y="9437"/>
                </a:lnTo>
                <a:lnTo>
                  <a:pt x="16310" y="0"/>
                </a:lnTo>
                <a:close/>
              </a:path>
            </a:pathLst>
          </a:custGeom>
          <a:solidFill>
            <a:srgbClr val="E0E0E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91" name="Google Shape;2194;p24">
            <a:extLst>
              <a:ext uri="{FF2B5EF4-FFF2-40B4-BE49-F238E27FC236}">
                <a16:creationId xmlns:a16="http://schemas.microsoft.com/office/drawing/2014/main" id="{F8131336-0A03-D3D7-DFB8-B516A3B33B71}"/>
              </a:ext>
            </a:extLst>
          </p:cNvPr>
          <p:cNvSpPr/>
          <p:nvPr/>
        </p:nvSpPr>
        <p:spPr>
          <a:xfrm>
            <a:off x="7868904" y="4696599"/>
            <a:ext cx="706778" cy="816537"/>
          </a:xfrm>
          <a:custGeom>
            <a:avLst/>
            <a:gdLst/>
            <a:ahLst/>
            <a:cxnLst/>
            <a:rect l="l" t="t" r="r" b="b"/>
            <a:pathLst>
              <a:path w="30593" h="35344" extrusionOk="0">
                <a:moveTo>
                  <a:pt x="15296" y="1"/>
                </a:moveTo>
                <a:lnTo>
                  <a:pt x="0" y="8836"/>
                </a:lnTo>
                <a:lnTo>
                  <a:pt x="0" y="26508"/>
                </a:lnTo>
                <a:lnTo>
                  <a:pt x="15296" y="35343"/>
                </a:lnTo>
                <a:lnTo>
                  <a:pt x="30593" y="26508"/>
                </a:lnTo>
                <a:lnTo>
                  <a:pt x="30593" y="8836"/>
                </a:lnTo>
                <a:lnTo>
                  <a:pt x="15296" y="1"/>
                </a:lnTo>
                <a:close/>
              </a:path>
            </a:pathLst>
          </a:custGeom>
          <a:solidFill>
            <a:srgbClr val="F0F1F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99" name="TextBox 598">
            <a:extLst>
              <a:ext uri="{FF2B5EF4-FFF2-40B4-BE49-F238E27FC236}">
                <a16:creationId xmlns:a16="http://schemas.microsoft.com/office/drawing/2014/main" id="{5D58DCE4-1471-E568-7A42-C0E5C5BD31E7}"/>
              </a:ext>
            </a:extLst>
          </p:cNvPr>
          <p:cNvSpPr txBox="1"/>
          <p:nvPr/>
        </p:nvSpPr>
        <p:spPr>
          <a:xfrm>
            <a:off x="8611551" y="4761198"/>
            <a:ext cx="2271092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/>
              <a:t>Security Screening</a:t>
            </a:r>
          </a:p>
          <a:p>
            <a:r>
              <a:rPr lang="de-DE" sz="1200" dirty="0" err="1"/>
              <a:t>Define</a:t>
            </a:r>
            <a:r>
              <a:rPr lang="de-DE" sz="1200" dirty="0"/>
              <a:t> Security </a:t>
            </a:r>
            <a:r>
              <a:rPr lang="de-DE" sz="1200" dirty="0" err="1"/>
              <a:t>Aspects</a:t>
            </a:r>
            <a:r>
              <a:rPr lang="de-DE" sz="1200" dirty="0"/>
              <a:t> </a:t>
            </a:r>
            <a:r>
              <a:rPr lang="de-DE" sz="1200" dirty="0" err="1"/>
              <a:t>of</a:t>
            </a:r>
            <a:r>
              <a:rPr lang="de-DE" sz="1200" dirty="0"/>
              <a:t> </a:t>
            </a:r>
            <a:r>
              <a:rPr lang="de-DE" sz="1200" dirty="0" err="1"/>
              <a:t>the</a:t>
            </a:r>
            <a:r>
              <a:rPr lang="de-DE" sz="1200" dirty="0"/>
              <a:t> Use Case</a:t>
            </a:r>
          </a:p>
        </p:txBody>
      </p:sp>
      <p:sp>
        <p:nvSpPr>
          <p:cNvPr id="600" name="TextBox 599">
            <a:extLst>
              <a:ext uri="{FF2B5EF4-FFF2-40B4-BE49-F238E27FC236}">
                <a16:creationId xmlns:a16="http://schemas.microsoft.com/office/drawing/2014/main" id="{D265DA4E-1B13-1570-4EBF-1DA08A8D2578}"/>
              </a:ext>
            </a:extLst>
          </p:cNvPr>
          <p:cNvSpPr txBox="1"/>
          <p:nvPr/>
        </p:nvSpPr>
        <p:spPr>
          <a:xfrm>
            <a:off x="5822609" y="5674674"/>
            <a:ext cx="1958803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/>
              <a:t>External Use Case</a:t>
            </a:r>
          </a:p>
          <a:p>
            <a:r>
              <a:rPr lang="de-DE" sz="1200" dirty="0"/>
              <a:t>Use </a:t>
            </a:r>
            <a:r>
              <a:rPr lang="de-DE" sz="1200" dirty="0" err="1"/>
              <a:t>case</a:t>
            </a:r>
            <a:r>
              <a:rPr lang="de-DE" sz="1200" dirty="0"/>
              <a:t> </a:t>
            </a:r>
            <a:r>
              <a:rPr lang="de-DE" sz="1200" dirty="0" err="1"/>
              <a:t>only</a:t>
            </a:r>
            <a:r>
              <a:rPr lang="de-DE" sz="1200" dirty="0"/>
              <a:t> </a:t>
            </a:r>
            <a:r>
              <a:rPr lang="de-DE" sz="1200" dirty="0" err="1"/>
              <a:t>suitable</a:t>
            </a:r>
            <a:r>
              <a:rPr lang="de-DE" sz="1200" dirty="0"/>
              <a:t> </a:t>
            </a:r>
            <a:r>
              <a:rPr lang="de-DE" sz="1200" dirty="0" err="1"/>
              <a:t>for</a:t>
            </a:r>
            <a:r>
              <a:rPr lang="de-DE" sz="1200" dirty="0"/>
              <a:t> external </a:t>
            </a:r>
            <a:r>
              <a:rPr lang="de-DE" sz="1200" dirty="0" err="1"/>
              <a:t>implementation</a:t>
            </a:r>
            <a:endParaRPr lang="de-DE" sz="1200" dirty="0"/>
          </a:p>
        </p:txBody>
      </p:sp>
      <p:sp>
        <p:nvSpPr>
          <p:cNvPr id="601" name="TextBox 600">
            <a:extLst>
              <a:ext uri="{FF2B5EF4-FFF2-40B4-BE49-F238E27FC236}">
                <a16:creationId xmlns:a16="http://schemas.microsoft.com/office/drawing/2014/main" id="{20E93FAF-A0EB-0ECD-2C6A-DC08DF954690}"/>
              </a:ext>
            </a:extLst>
          </p:cNvPr>
          <p:cNvSpPr txBox="1"/>
          <p:nvPr/>
        </p:nvSpPr>
        <p:spPr>
          <a:xfrm>
            <a:off x="5821238" y="4908825"/>
            <a:ext cx="1982699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/>
              <a:t>CoPilot</a:t>
            </a:r>
            <a:r>
              <a:rPr lang="de-DE" sz="1400" b="1" dirty="0"/>
              <a:t> Use Case</a:t>
            </a:r>
          </a:p>
          <a:p>
            <a:r>
              <a:rPr lang="de-DE" sz="1200" dirty="0"/>
              <a:t>Use </a:t>
            </a:r>
            <a:r>
              <a:rPr lang="de-DE" sz="1200" dirty="0" err="1"/>
              <a:t>case</a:t>
            </a:r>
            <a:r>
              <a:rPr lang="de-DE" sz="1200" dirty="0"/>
              <a:t> </a:t>
            </a:r>
            <a:r>
              <a:rPr lang="de-DE" sz="1200" dirty="0" err="1"/>
              <a:t>suitable</a:t>
            </a:r>
            <a:r>
              <a:rPr lang="de-DE" sz="1200" dirty="0"/>
              <a:t> </a:t>
            </a:r>
            <a:r>
              <a:rPr lang="de-DE" sz="1200" dirty="0" err="1"/>
              <a:t>for</a:t>
            </a:r>
            <a:r>
              <a:rPr lang="de-DE" sz="1200" dirty="0"/>
              <a:t> </a:t>
            </a:r>
            <a:r>
              <a:rPr lang="de-DE" sz="1200" dirty="0" err="1"/>
              <a:t>CoPilot</a:t>
            </a:r>
            <a:endParaRPr lang="de-DE" sz="1200" dirty="0"/>
          </a:p>
        </p:txBody>
      </p:sp>
      <p:sp>
        <p:nvSpPr>
          <p:cNvPr id="602" name="TextBox 601">
            <a:extLst>
              <a:ext uri="{FF2B5EF4-FFF2-40B4-BE49-F238E27FC236}">
                <a16:creationId xmlns:a16="http://schemas.microsoft.com/office/drawing/2014/main" id="{5259B41E-E274-525C-663B-4EE47D6D0FA8}"/>
              </a:ext>
            </a:extLst>
          </p:cNvPr>
          <p:cNvSpPr txBox="1"/>
          <p:nvPr/>
        </p:nvSpPr>
        <p:spPr>
          <a:xfrm>
            <a:off x="5821238" y="3998089"/>
            <a:ext cx="182879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/>
              <a:t>Databricks</a:t>
            </a:r>
            <a:r>
              <a:rPr lang="de-DE" sz="1400" b="1" dirty="0"/>
              <a:t> Use Case</a:t>
            </a:r>
          </a:p>
          <a:p>
            <a:r>
              <a:rPr lang="de-DE" sz="1200" dirty="0"/>
              <a:t>ML </a:t>
            </a:r>
            <a:r>
              <a:rPr lang="de-DE" sz="1200" dirty="0" err="1"/>
              <a:t>with</a:t>
            </a:r>
            <a:r>
              <a:rPr lang="de-DE" sz="1200" dirty="0"/>
              <a:t> </a:t>
            </a:r>
            <a:r>
              <a:rPr lang="de-DE" sz="1200" dirty="0" err="1"/>
              <a:t>structured</a:t>
            </a:r>
            <a:r>
              <a:rPr lang="de-DE" sz="1200" dirty="0"/>
              <a:t> Data</a:t>
            </a:r>
          </a:p>
        </p:txBody>
      </p:sp>
      <p:sp>
        <p:nvSpPr>
          <p:cNvPr id="603" name="TextBox 602">
            <a:extLst>
              <a:ext uri="{FF2B5EF4-FFF2-40B4-BE49-F238E27FC236}">
                <a16:creationId xmlns:a16="http://schemas.microsoft.com/office/drawing/2014/main" id="{3C65A0F1-D67E-3E5B-FC94-1742F05F4302}"/>
              </a:ext>
            </a:extLst>
          </p:cNvPr>
          <p:cNvSpPr txBox="1"/>
          <p:nvPr/>
        </p:nvSpPr>
        <p:spPr>
          <a:xfrm>
            <a:off x="10484053" y="3560333"/>
            <a:ext cx="22710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/>
              <a:t>Implementation</a:t>
            </a:r>
          </a:p>
        </p:txBody>
      </p:sp>
      <p:cxnSp>
        <p:nvCxnSpPr>
          <p:cNvPr id="633" name="Straight Connector 632">
            <a:extLst>
              <a:ext uri="{FF2B5EF4-FFF2-40B4-BE49-F238E27FC236}">
                <a16:creationId xmlns:a16="http://schemas.microsoft.com/office/drawing/2014/main" id="{37747B2B-F190-2C67-A96A-2C2809AEB733}"/>
              </a:ext>
            </a:extLst>
          </p:cNvPr>
          <p:cNvCxnSpPr>
            <a:cxnSpLocks/>
          </p:cNvCxnSpPr>
          <p:nvPr/>
        </p:nvCxnSpPr>
        <p:spPr>
          <a:xfrm flipH="1">
            <a:off x="4966969" y="2327030"/>
            <a:ext cx="29248" cy="3680864"/>
          </a:xfrm>
          <a:prstGeom prst="line">
            <a:avLst/>
          </a:prstGeom>
          <a:ln w="63500">
            <a:solidFill>
              <a:srgbClr val="F2A3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1" name="Google Shape;2149;p24">
            <a:extLst>
              <a:ext uri="{FF2B5EF4-FFF2-40B4-BE49-F238E27FC236}">
                <a16:creationId xmlns:a16="http://schemas.microsoft.com/office/drawing/2014/main" id="{501D8983-FF76-879B-E29E-D28445E30CC5}"/>
              </a:ext>
            </a:extLst>
          </p:cNvPr>
          <p:cNvSpPr/>
          <p:nvPr/>
        </p:nvSpPr>
        <p:spPr>
          <a:xfrm>
            <a:off x="5556131" y="5827235"/>
            <a:ext cx="143148" cy="143905"/>
          </a:xfrm>
          <a:custGeom>
            <a:avLst/>
            <a:gdLst/>
            <a:ahLst/>
            <a:cxnLst/>
            <a:rect l="l" t="t" r="r" b="b"/>
            <a:pathLst>
              <a:path w="5860" h="5891" extrusionOk="0">
                <a:moveTo>
                  <a:pt x="1" y="0"/>
                </a:moveTo>
                <a:lnTo>
                  <a:pt x="1" y="5891"/>
                </a:lnTo>
                <a:lnTo>
                  <a:pt x="5860" y="5891"/>
                </a:lnTo>
                <a:cubicBezTo>
                  <a:pt x="5860" y="2629"/>
                  <a:pt x="3231" y="0"/>
                  <a:pt x="1" y="0"/>
                </a:cubicBezTo>
                <a:close/>
              </a:path>
            </a:pathLst>
          </a:custGeom>
          <a:solidFill>
            <a:srgbClr val="F2A365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682" name="Google Shape;2151;p24">
            <a:extLst>
              <a:ext uri="{FF2B5EF4-FFF2-40B4-BE49-F238E27FC236}">
                <a16:creationId xmlns:a16="http://schemas.microsoft.com/office/drawing/2014/main" id="{BC24690D-4E68-6F0D-3C38-30F65AAF9417}"/>
              </a:ext>
            </a:extLst>
          </p:cNvPr>
          <p:cNvSpPr/>
          <p:nvPr/>
        </p:nvSpPr>
        <p:spPr>
          <a:xfrm>
            <a:off x="5372290" y="5825867"/>
            <a:ext cx="331120" cy="331902"/>
          </a:xfrm>
          <a:custGeom>
            <a:avLst/>
            <a:gdLst/>
            <a:ahLst/>
            <a:cxnLst/>
            <a:rect l="l" t="t" r="r" b="b"/>
            <a:pathLst>
              <a:path w="13555" h="13587" extrusionOk="0">
                <a:moveTo>
                  <a:pt x="6777" y="0"/>
                </a:moveTo>
                <a:cubicBezTo>
                  <a:pt x="3041" y="0"/>
                  <a:pt x="0" y="3040"/>
                  <a:pt x="0" y="6809"/>
                </a:cubicBezTo>
                <a:cubicBezTo>
                  <a:pt x="0" y="10546"/>
                  <a:pt x="3041" y="13586"/>
                  <a:pt x="6777" y="13586"/>
                </a:cubicBezTo>
                <a:cubicBezTo>
                  <a:pt x="10514" y="13586"/>
                  <a:pt x="13555" y="10546"/>
                  <a:pt x="13555" y="6809"/>
                </a:cubicBezTo>
                <a:lnTo>
                  <a:pt x="6777" y="6809"/>
                </a:lnTo>
                <a:lnTo>
                  <a:pt x="6777" y="0"/>
                </a:lnTo>
                <a:close/>
              </a:path>
            </a:pathLst>
          </a:custGeom>
          <a:solidFill>
            <a:srgbClr val="22283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grpSp>
        <p:nvGrpSpPr>
          <p:cNvPr id="719" name="Google Shape;1776;p23">
            <a:extLst>
              <a:ext uri="{FF2B5EF4-FFF2-40B4-BE49-F238E27FC236}">
                <a16:creationId xmlns:a16="http://schemas.microsoft.com/office/drawing/2014/main" id="{EA7AAD97-437E-F085-45B8-1D9C8C3C4140}"/>
              </a:ext>
            </a:extLst>
          </p:cNvPr>
          <p:cNvGrpSpPr/>
          <p:nvPr/>
        </p:nvGrpSpPr>
        <p:grpSpPr>
          <a:xfrm>
            <a:off x="8063784" y="3577036"/>
            <a:ext cx="308373" cy="355584"/>
            <a:chOff x="1252097" y="530954"/>
            <a:chExt cx="333521" cy="384582"/>
          </a:xfrm>
        </p:grpSpPr>
        <p:sp>
          <p:nvSpPr>
            <p:cNvPr id="720" name="Google Shape;1777;p23">
              <a:extLst>
                <a:ext uri="{FF2B5EF4-FFF2-40B4-BE49-F238E27FC236}">
                  <a16:creationId xmlns:a16="http://schemas.microsoft.com/office/drawing/2014/main" id="{6546FD52-98B5-A538-9E10-B5DBB1524935}"/>
                </a:ext>
              </a:extLst>
            </p:cNvPr>
            <p:cNvSpPr/>
            <p:nvPr/>
          </p:nvSpPr>
          <p:spPr>
            <a:xfrm>
              <a:off x="1252097" y="531428"/>
              <a:ext cx="172686" cy="384108"/>
            </a:xfrm>
            <a:custGeom>
              <a:avLst/>
              <a:gdLst/>
              <a:ahLst/>
              <a:cxnLst/>
              <a:rect l="l" t="t" r="r" b="b"/>
              <a:pathLst>
                <a:path w="5100" h="11344" extrusionOk="0">
                  <a:moveTo>
                    <a:pt x="3930" y="0"/>
                  </a:moveTo>
                  <a:cubicBezTo>
                    <a:pt x="3653" y="0"/>
                    <a:pt x="3371" y="82"/>
                    <a:pt x="3073" y="196"/>
                  </a:cubicBezTo>
                  <a:cubicBezTo>
                    <a:pt x="2724" y="292"/>
                    <a:pt x="2566" y="545"/>
                    <a:pt x="2408" y="735"/>
                  </a:cubicBezTo>
                  <a:cubicBezTo>
                    <a:pt x="2281" y="893"/>
                    <a:pt x="2154" y="1052"/>
                    <a:pt x="1996" y="1147"/>
                  </a:cubicBezTo>
                  <a:cubicBezTo>
                    <a:pt x="1901" y="1210"/>
                    <a:pt x="1806" y="1242"/>
                    <a:pt x="1679" y="1242"/>
                  </a:cubicBezTo>
                  <a:cubicBezTo>
                    <a:pt x="1616" y="1273"/>
                    <a:pt x="1521" y="1305"/>
                    <a:pt x="1457" y="1337"/>
                  </a:cubicBezTo>
                  <a:cubicBezTo>
                    <a:pt x="1046" y="1463"/>
                    <a:pt x="729" y="1875"/>
                    <a:pt x="666" y="2350"/>
                  </a:cubicBezTo>
                  <a:cubicBezTo>
                    <a:pt x="634" y="2730"/>
                    <a:pt x="697" y="3110"/>
                    <a:pt x="887" y="3458"/>
                  </a:cubicBezTo>
                  <a:cubicBezTo>
                    <a:pt x="919" y="3522"/>
                    <a:pt x="951" y="3585"/>
                    <a:pt x="982" y="3617"/>
                  </a:cubicBezTo>
                  <a:cubicBezTo>
                    <a:pt x="982" y="3617"/>
                    <a:pt x="951" y="3617"/>
                    <a:pt x="951" y="3648"/>
                  </a:cubicBezTo>
                  <a:cubicBezTo>
                    <a:pt x="919" y="3680"/>
                    <a:pt x="887" y="3712"/>
                    <a:pt x="856" y="3743"/>
                  </a:cubicBezTo>
                  <a:cubicBezTo>
                    <a:pt x="317" y="4218"/>
                    <a:pt x="1" y="4820"/>
                    <a:pt x="64" y="5422"/>
                  </a:cubicBezTo>
                  <a:cubicBezTo>
                    <a:pt x="64" y="5675"/>
                    <a:pt x="191" y="5897"/>
                    <a:pt x="286" y="6119"/>
                  </a:cubicBezTo>
                  <a:cubicBezTo>
                    <a:pt x="412" y="6340"/>
                    <a:pt x="539" y="6562"/>
                    <a:pt x="507" y="6784"/>
                  </a:cubicBezTo>
                  <a:cubicBezTo>
                    <a:pt x="476" y="6879"/>
                    <a:pt x="444" y="6974"/>
                    <a:pt x="381" y="7037"/>
                  </a:cubicBezTo>
                  <a:lnTo>
                    <a:pt x="349" y="7132"/>
                  </a:lnTo>
                  <a:cubicBezTo>
                    <a:pt x="1" y="7924"/>
                    <a:pt x="191" y="8905"/>
                    <a:pt x="824" y="9507"/>
                  </a:cubicBezTo>
                  <a:lnTo>
                    <a:pt x="856" y="9539"/>
                  </a:lnTo>
                  <a:cubicBezTo>
                    <a:pt x="919" y="9602"/>
                    <a:pt x="982" y="9665"/>
                    <a:pt x="982" y="9729"/>
                  </a:cubicBezTo>
                  <a:cubicBezTo>
                    <a:pt x="1014" y="9792"/>
                    <a:pt x="1014" y="9824"/>
                    <a:pt x="1014" y="9887"/>
                  </a:cubicBezTo>
                  <a:lnTo>
                    <a:pt x="1014" y="9951"/>
                  </a:lnTo>
                  <a:cubicBezTo>
                    <a:pt x="1077" y="10362"/>
                    <a:pt x="1299" y="10711"/>
                    <a:pt x="1679" y="10932"/>
                  </a:cubicBezTo>
                  <a:cubicBezTo>
                    <a:pt x="1996" y="11091"/>
                    <a:pt x="2313" y="11122"/>
                    <a:pt x="2598" y="11154"/>
                  </a:cubicBezTo>
                  <a:cubicBezTo>
                    <a:pt x="2724" y="11154"/>
                    <a:pt x="2851" y="11186"/>
                    <a:pt x="3009" y="11217"/>
                  </a:cubicBezTo>
                  <a:cubicBezTo>
                    <a:pt x="3073" y="11217"/>
                    <a:pt x="3136" y="11249"/>
                    <a:pt x="3199" y="11249"/>
                  </a:cubicBezTo>
                  <a:cubicBezTo>
                    <a:pt x="3358" y="11281"/>
                    <a:pt x="3484" y="11312"/>
                    <a:pt x="3643" y="11344"/>
                  </a:cubicBezTo>
                  <a:lnTo>
                    <a:pt x="3769" y="11344"/>
                  </a:lnTo>
                  <a:cubicBezTo>
                    <a:pt x="3991" y="11344"/>
                    <a:pt x="4181" y="11281"/>
                    <a:pt x="4339" y="11217"/>
                  </a:cubicBezTo>
                  <a:cubicBezTo>
                    <a:pt x="4561" y="11059"/>
                    <a:pt x="4719" y="10742"/>
                    <a:pt x="4783" y="10331"/>
                  </a:cubicBezTo>
                  <a:cubicBezTo>
                    <a:pt x="4941" y="9380"/>
                    <a:pt x="5004" y="8304"/>
                    <a:pt x="4909" y="7069"/>
                  </a:cubicBezTo>
                  <a:cubicBezTo>
                    <a:pt x="4909" y="6784"/>
                    <a:pt x="4878" y="6530"/>
                    <a:pt x="4719" y="6277"/>
                  </a:cubicBezTo>
                  <a:cubicBezTo>
                    <a:pt x="4561" y="6087"/>
                    <a:pt x="4308" y="5960"/>
                    <a:pt x="4023" y="5960"/>
                  </a:cubicBezTo>
                  <a:cubicBezTo>
                    <a:pt x="3769" y="5960"/>
                    <a:pt x="3516" y="6087"/>
                    <a:pt x="3358" y="6309"/>
                  </a:cubicBezTo>
                  <a:cubicBezTo>
                    <a:pt x="3326" y="6340"/>
                    <a:pt x="3326" y="6435"/>
                    <a:pt x="3389" y="6467"/>
                  </a:cubicBezTo>
                  <a:cubicBezTo>
                    <a:pt x="3413" y="6491"/>
                    <a:pt x="3442" y="6501"/>
                    <a:pt x="3470" y="6501"/>
                  </a:cubicBezTo>
                  <a:cubicBezTo>
                    <a:pt x="3516" y="6501"/>
                    <a:pt x="3560" y="6474"/>
                    <a:pt x="3579" y="6435"/>
                  </a:cubicBezTo>
                  <a:cubicBezTo>
                    <a:pt x="3674" y="6309"/>
                    <a:pt x="3864" y="6214"/>
                    <a:pt x="4054" y="6214"/>
                  </a:cubicBezTo>
                  <a:cubicBezTo>
                    <a:pt x="4213" y="6214"/>
                    <a:pt x="4403" y="6309"/>
                    <a:pt x="4498" y="6435"/>
                  </a:cubicBezTo>
                  <a:cubicBezTo>
                    <a:pt x="4624" y="6625"/>
                    <a:pt x="4656" y="6847"/>
                    <a:pt x="4656" y="7069"/>
                  </a:cubicBezTo>
                  <a:cubicBezTo>
                    <a:pt x="4751" y="8304"/>
                    <a:pt x="4688" y="9349"/>
                    <a:pt x="4561" y="10299"/>
                  </a:cubicBezTo>
                  <a:cubicBezTo>
                    <a:pt x="4498" y="10647"/>
                    <a:pt x="4371" y="10869"/>
                    <a:pt x="4181" y="10996"/>
                  </a:cubicBezTo>
                  <a:cubicBezTo>
                    <a:pt x="4062" y="11067"/>
                    <a:pt x="3908" y="11102"/>
                    <a:pt x="3771" y="11102"/>
                  </a:cubicBezTo>
                  <a:cubicBezTo>
                    <a:pt x="3726" y="11102"/>
                    <a:pt x="3682" y="11099"/>
                    <a:pt x="3643" y="11091"/>
                  </a:cubicBezTo>
                  <a:cubicBezTo>
                    <a:pt x="3516" y="11091"/>
                    <a:pt x="3389" y="11059"/>
                    <a:pt x="3263" y="11027"/>
                  </a:cubicBezTo>
                  <a:lnTo>
                    <a:pt x="3041" y="10964"/>
                  </a:lnTo>
                  <a:cubicBezTo>
                    <a:pt x="2914" y="10964"/>
                    <a:pt x="2756" y="10932"/>
                    <a:pt x="2629" y="10932"/>
                  </a:cubicBezTo>
                  <a:cubicBezTo>
                    <a:pt x="2344" y="10901"/>
                    <a:pt x="2059" y="10869"/>
                    <a:pt x="1806" y="10711"/>
                  </a:cubicBezTo>
                  <a:cubicBezTo>
                    <a:pt x="1489" y="10552"/>
                    <a:pt x="1331" y="10267"/>
                    <a:pt x="1267" y="9951"/>
                  </a:cubicBezTo>
                  <a:lnTo>
                    <a:pt x="1267" y="9887"/>
                  </a:lnTo>
                  <a:cubicBezTo>
                    <a:pt x="1267" y="9824"/>
                    <a:pt x="1267" y="9729"/>
                    <a:pt x="1236" y="9634"/>
                  </a:cubicBezTo>
                  <a:cubicBezTo>
                    <a:pt x="1172" y="9539"/>
                    <a:pt x="1109" y="9444"/>
                    <a:pt x="1014" y="9380"/>
                  </a:cubicBezTo>
                  <a:lnTo>
                    <a:pt x="982" y="9349"/>
                  </a:lnTo>
                  <a:cubicBezTo>
                    <a:pt x="444" y="8810"/>
                    <a:pt x="254" y="7955"/>
                    <a:pt x="571" y="7259"/>
                  </a:cubicBezTo>
                  <a:lnTo>
                    <a:pt x="634" y="7164"/>
                  </a:lnTo>
                  <a:cubicBezTo>
                    <a:pt x="666" y="7069"/>
                    <a:pt x="729" y="6974"/>
                    <a:pt x="729" y="6847"/>
                  </a:cubicBezTo>
                  <a:cubicBezTo>
                    <a:pt x="792" y="6530"/>
                    <a:pt x="634" y="6245"/>
                    <a:pt x="507" y="5992"/>
                  </a:cubicBezTo>
                  <a:cubicBezTo>
                    <a:pt x="412" y="5802"/>
                    <a:pt x="317" y="5612"/>
                    <a:pt x="286" y="5422"/>
                  </a:cubicBezTo>
                  <a:cubicBezTo>
                    <a:pt x="286" y="4915"/>
                    <a:pt x="539" y="4345"/>
                    <a:pt x="1014" y="3933"/>
                  </a:cubicBezTo>
                  <a:cubicBezTo>
                    <a:pt x="1046" y="3902"/>
                    <a:pt x="1077" y="3870"/>
                    <a:pt x="1109" y="3838"/>
                  </a:cubicBezTo>
                  <a:cubicBezTo>
                    <a:pt x="1236" y="3743"/>
                    <a:pt x="1331" y="3648"/>
                    <a:pt x="1204" y="3458"/>
                  </a:cubicBezTo>
                  <a:cubicBezTo>
                    <a:pt x="1172" y="3458"/>
                    <a:pt x="1141" y="3395"/>
                    <a:pt x="1109" y="3332"/>
                  </a:cubicBezTo>
                  <a:cubicBezTo>
                    <a:pt x="951" y="3047"/>
                    <a:pt x="887" y="2730"/>
                    <a:pt x="919" y="2413"/>
                  </a:cubicBezTo>
                  <a:cubicBezTo>
                    <a:pt x="982" y="2002"/>
                    <a:pt x="1204" y="1685"/>
                    <a:pt x="1552" y="1558"/>
                  </a:cubicBezTo>
                  <a:cubicBezTo>
                    <a:pt x="1616" y="1558"/>
                    <a:pt x="1679" y="1527"/>
                    <a:pt x="1743" y="1527"/>
                  </a:cubicBezTo>
                  <a:cubicBezTo>
                    <a:pt x="1869" y="1495"/>
                    <a:pt x="1996" y="1463"/>
                    <a:pt x="2123" y="1400"/>
                  </a:cubicBezTo>
                  <a:cubicBezTo>
                    <a:pt x="2344" y="1273"/>
                    <a:pt x="2471" y="1083"/>
                    <a:pt x="2598" y="893"/>
                  </a:cubicBezTo>
                  <a:cubicBezTo>
                    <a:pt x="2756" y="703"/>
                    <a:pt x="2883" y="513"/>
                    <a:pt x="3168" y="418"/>
                  </a:cubicBezTo>
                  <a:cubicBezTo>
                    <a:pt x="3462" y="345"/>
                    <a:pt x="3718" y="271"/>
                    <a:pt x="3966" y="271"/>
                  </a:cubicBezTo>
                  <a:cubicBezTo>
                    <a:pt x="4038" y="271"/>
                    <a:pt x="4110" y="277"/>
                    <a:pt x="4181" y="292"/>
                  </a:cubicBezTo>
                  <a:cubicBezTo>
                    <a:pt x="4466" y="355"/>
                    <a:pt x="4751" y="608"/>
                    <a:pt x="4719" y="925"/>
                  </a:cubicBezTo>
                  <a:cubicBezTo>
                    <a:pt x="4719" y="1305"/>
                    <a:pt x="4751" y="1685"/>
                    <a:pt x="4751" y="2065"/>
                  </a:cubicBezTo>
                  <a:cubicBezTo>
                    <a:pt x="4783" y="2825"/>
                    <a:pt x="4846" y="3648"/>
                    <a:pt x="4719" y="4377"/>
                  </a:cubicBezTo>
                  <a:cubicBezTo>
                    <a:pt x="4688" y="4567"/>
                    <a:pt x="4656" y="4757"/>
                    <a:pt x="4561" y="4852"/>
                  </a:cubicBezTo>
                  <a:cubicBezTo>
                    <a:pt x="4476" y="4937"/>
                    <a:pt x="4345" y="4967"/>
                    <a:pt x="4213" y="4967"/>
                  </a:cubicBezTo>
                  <a:cubicBezTo>
                    <a:pt x="4099" y="4967"/>
                    <a:pt x="3984" y="4945"/>
                    <a:pt x="3896" y="4915"/>
                  </a:cubicBezTo>
                  <a:cubicBezTo>
                    <a:pt x="3801" y="4915"/>
                    <a:pt x="3738" y="4947"/>
                    <a:pt x="3738" y="5010"/>
                  </a:cubicBezTo>
                  <a:cubicBezTo>
                    <a:pt x="3706" y="5105"/>
                    <a:pt x="3738" y="5169"/>
                    <a:pt x="3833" y="5169"/>
                  </a:cubicBezTo>
                  <a:cubicBezTo>
                    <a:pt x="3980" y="5203"/>
                    <a:pt x="4112" y="5220"/>
                    <a:pt x="4228" y="5220"/>
                  </a:cubicBezTo>
                  <a:cubicBezTo>
                    <a:pt x="4437" y="5220"/>
                    <a:pt x="4598" y="5164"/>
                    <a:pt x="4719" y="5042"/>
                  </a:cubicBezTo>
                  <a:cubicBezTo>
                    <a:pt x="4909" y="4852"/>
                    <a:pt x="4941" y="4598"/>
                    <a:pt x="4973" y="4408"/>
                  </a:cubicBezTo>
                  <a:cubicBezTo>
                    <a:pt x="5099" y="3648"/>
                    <a:pt x="5068" y="2825"/>
                    <a:pt x="5004" y="2033"/>
                  </a:cubicBezTo>
                  <a:cubicBezTo>
                    <a:pt x="5004" y="1685"/>
                    <a:pt x="4973" y="1273"/>
                    <a:pt x="4973" y="925"/>
                  </a:cubicBezTo>
                  <a:cubicBezTo>
                    <a:pt x="5036" y="482"/>
                    <a:pt x="4656" y="101"/>
                    <a:pt x="4244" y="38"/>
                  </a:cubicBezTo>
                  <a:cubicBezTo>
                    <a:pt x="4140" y="12"/>
                    <a:pt x="4035" y="0"/>
                    <a:pt x="3930" y="0"/>
                  </a:cubicBez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721" name="Google Shape;1778;p23">
              <a:extLst>
                <a:ext uri="{FF2B5EF4-FFF2-40B4-BE49-F238E27FC236}">
                  <a16:creationId xmlns:a16="http://schemas.microsoft.com/office/drawing/2014/main" id="{57338829-2972-422E-1C7D-BEA19051D980}"/>
                </a:ext>
              </a:extLst>
            </p:cNvPr>
            <p:cNvSpPr/>
            <p:nvPr/>
          </p:nvSpPr>
          <p:spPr>
            <a:xfrm>
              <a:off x="1271397" y="646010"/>
              <a:ext cx="104052" cy="36840"/>
            </a:xfrm>
            <a:custGeom>
              <a:avLst/>
              <a:gdLst/>
              <a:ahLst/>
              <a:cxnLst/>
              <a:rect l="l" t="t" r="r" b="b"/>
              <a:pathLst>
                <a:path w="3073" h="1088" extrusionOk="0">
                  <a:moveTo>
                    <a:pt x="1443" y="0"/>
                  </a:moveTo>
                  <a:cubicBezTo>
                    <a:pt x="912" y="0"/>
                    <a:pt x="401" y="216"/>
                    <a:pt x="64" y="581"/>
                  </a:cubicBezTo>
                  <a:cubicBezTo>
                    <a:pt x="1" y="644"/>
                    <a:pt x="1" y="708"/>
                    <a:pt x="64" y="771"/>
                  </a:cubicBezTo>
                  <a:cubicBezTo>
                    <a:pt x="90" y="784"/>
                    <a:pt x="117" y="792"/>
                    <a:pt x="143" y="792"/>
                  </a:cubicBezTo>
                  <a:cubicBezTo>
                    <a:pt x="180" y="792"/>
                    <a:pt x="217" y="777"/>
                    <a:pt x="254" y="739"/>
                  </a:cubicBezTo>
                  <a:cubicBezTo>
                    <a:pt x="530" y="436"/>
                    <a:pt x="975" y="252"/>
                    <a:pt x="1399" y="252"/>
                  </a:cubicBezTo>
                  <a:cubicBezTo>
                    <a:pt x="1461" y="252"/>
                    <a:pt x="1523" y="256"/>
                    <a:pt x="1584" y="264"/>
                  </a:cubicBezTo>
                  <a:cubicBezTo>
                    <a:pt x="2091" y="328"/>
                    <a:pt x="2566" y="613"/>
                    <a:pt x="2788" y="1024"/>
                  </a:cubicBezTo>
                  <a:cubicBezTo>
                    <a:pt x="2819" y="1088"/>
                    <a:pt x="2851" y="1088"/>
                    <a:pt x="2914" y="1088"/>
                  </a:cubicBezTo>
                  <a:lnTo>
                    <a:pt x="2978" y="1088"/>
                  </a:lnTo>
                  <a:cubicBezTo>
                    <a:pt x="3041" y="1056"/>
                    <a:pt x="3073" y="961"/>
                    <a:pt x="3009" y="898"/>
                  </a:cubicBezTo>
                  <a:cubicBezTo>
                    <a:pt x="2756" y="423"/>
                    <a:pt x="2218" y="74"/>
                    <a:pt x="1648" y="11"/>
                  </a:cubicBezTo>
                  <a:cubicBezTo>
                    <a:pt x="1579" y="4"/>
                    <a:pt x="1511" y="0"/>
                    <a:pt x="1443" y="0"/>
                  </a:cubicBez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" name="Google Shape;1779;p23">
              <a:extLst>
                <a:ext uri="{FF2B5EF4-FFF2-40B4-BE49-F238E27FC236}">
                  <a16:creationId xmlns:a16="http://schemas.microsoft.com/office/drawing/2014/main" id="{1441920C-4F5A-D48B-2282-1DF7E12B11F5}"/>
                </a:ext>
              </a:extLst>
            </p:cNvPr>
            <p:cNvSpPr/>
            <p:nvPr/>
          </p:nvSpPr>
          <p:spPr>
            <a:xfrm>
              <a:off x="1333598" y="869791"/>
              <a:ext cx="48284" cy="25395"/>
            </a:xfrm>
            <a:custGeom>
              <a:avLst/>
              <a:gdLst/>
              <a:ahLst/>
              <a:cxnLst/>
              <a:rect l="l" t="t" r="r" b="b"/>
              <a:pathLst>
                <a:path w="1426" h="750" extrusionOk="0">
                  <a:moveTo>
                    <a:pt x="152" y="0"/>
                  </a:moveTo>
                  <a:cubicBezTo>
                    <a:pt x="122" y="0"/>
                    <a:pt x="90" y="8"/>
                    <a:pt x="64" y="21"/>
                  </a:cubicBezTo>
                  <a:cubicBezTo>
                    <a:pt x="1" y="53"/>
                    <a:pt x="1" y="148"/>
                    <a:pt x="32" y="211"/>
                  </a:cubicBezTo>
                  <a:cubicBezTo>
                    <a:pt x="254" y="559"/>
                    <a:pt x="666" y="749"/>
                    <a:pt x="1109" y="749"/>
                  </a:cubicBezTo>
                  <a:lnTo>
                    <a:pt x="1299" y="749"/>
                  </a:lnTo>
                  <a:cubicBezTo>
                    <a:pt x="1362" y="718"/>
                    <a:pt x="1426" y="654"/>
                    <a:pt x="1394" y="591"/>
                  </a:cubicBezTo>
                  <a:cubicBezTo>
                    <a:pt x="1394" y="539"/>
                    <a:pt x="1352" y="487"/>
                    <a:pt x="1285" y="487"/>
                  </a:cubicBezTo>
                  <a:cubicBezTo>
                    <a:pt x="1269" y="487"/>
                    <a:pt x="1253" y="490"/>
                    <a:pt x="1236" y="496"/>
                  </a:cubicBezTo>
                  <a:cubicBezTo>
                    <a:pt x="1187" y="504"/>
                    <a:pt x="1137" y="508"/>
                    <a:pt x="1087" y="508"/>
                  </a:cubicBezTo>
                  <a:cubicBezTo>
                    <a:pt x="753" y="508"/>
                    <a:pt x="419" y="328"/>
                    <a:pt x="254" y="53"/>
                  </a:cubicBezTo>
                  <a:cubicBezTo>
                    <a:pt x="235" y="15"/>
                    <a:pt x="195" y="0"/>
                    <a:pt x="152" y="0"/>
                  </a:cubicBez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" name="Google Shape;1780;p23">
              <a:extLst>
                <a:ext uri="{FF2B5EF4-FFF2-40B4-BE49-F238E27FC236}">
                  <a16:creationId xmlns:a16="http://schemas.microsoft.com/office/drawing/2014/main" id="{439BD127-B97D-088C-EF8F-664D58CC34DD}"/>
                </a:ext>
              </a:extLst>
            </p:cNvPr>
            <p:cNvSpPr/>
            <p:nvPr/>
          </p:nvSpPr>
          <p:spPr>
            <a:xfrm>
              <a:off x="1359332" y="550931"/>
              <a:ext cx="39718" cy="31117"/>
            </a:xfrm>
            <a:custGeom>
              <a:avLst/>
              <a:gdLst/>
              <a:ahLst/>
              <a:cxnLst/>
              <a:rect l="l" t="t" r="r" b="b"/>
              <a:pathLst>
                <a:path w="1173" h="919" extrusionOk="0">
                  <a:moveTo>
                    <a:pt x="127" y="1"/>
                  </a:moveTo>
                  <a:cubicBezTo>
                    <a:pt x="64" y="1"/>
                    <a:pt x="1" y="64"/>
                    <a:pt x="1" y="127"/>
                  </a:cubicBezTo>
                  <a:cubicBezTo>
                    <a:pt x="1" y="191"/>
                    <a:pt x="32" y="254"/>
                    <a:pt x="127" y="254"/>
                  </a:cubicBezTo>
                  <a:cubicBezTo>
                    <a:pt x="476" y="286"/>
                    <a:pt x="792" y="539"/>
                    <a:pt x="887" y="824"/>
                  </a:cubicBezTo>
                  <a:cubicBezTo>
                    <a:pt x="919" y="887"/>
                    <a:pt x="951" y="919"/>
                    <a:pt x="1014" y="919"/>
                  </a:cubicBezTo>
                  <a:lnTo>
                    <a:pt x="1046" y="919"/>
                  </a:lnTo>
                  <a:cubicBezTo>
                    <a:pt x="1141" y="887"/>
                    <a:pt x="1172" y="824"/>
                    <a:pt x="1141" y="761"/>
                  </a:cubicBezTo>
                  <a:cubicBezTo>
                    <a:pt x="1014" y="349"/>
                    <a:pt x="602" y="32"/>
                    <a:pt x="127" y="1"/>
                  </a:cubicBez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" name="Google Shape;1781;p23">
              <a:extLst>
                <a:ext uri="{FF2B5EF4-FFF2-40B4-BE49-F238E27FC236}">
                  <a16:creationId xmlns:a16="http://schemas.microsoft.com/office/drawing/2014/main" id="{10F67313-A461-40AD-5E78-7981BA70DD3A}"/>
                </a:ext>
              </a:extLst>
            </p:cNvPr>
            <p:cNvSpPr/>
            <p:nvPr/>
          </p:nvSpPr>
          <p:spPr>
            <a:xfrm>
              <a:off x="1299298" y="682545"/>
              <a:ext cx="82585" cy="48555"/>
            </a:xfrm>
            <a:custGeom>
              <a:avLst/>
              <a:gdLst/>
              <a:ahLst/>
              <a:cxnLst/>
              <a:rect l="l" t="t" r="r" b="b"/>
              <a:pathLst>
                <a:path w="2439" h="1434" extrusionOk="0">
                  <a:moveTo>
                    <a:pt x="161" y="0"/>
                  </a:moveTo>
                  <a:cubicBezTo>
                    <a:pt x="150" y="0"/>
                    <a:pt x="138" y="3"/>
                    <a:pt x="127" y="9"/>
                  </a:cubicBezTo>
                  <a:cubicBezTo>
                    <a:pt x="32" y="40"/>
                    <a:pt x="0" y="104"/>
                    <a:pt x="32" y="167"/>
                  </a:cubicBezTo>
                  <a:cubicBezTo>
                    <a:pt x="158" y="579"/>
                    <a:pt x="475" y="959"/>
                    <a:pt x="950" y="1181"/>
                  </a:cubicBezTo>
                  <a:cubicBezTo>
                    <a:pt x="1299" y="1339"/>
                    <a:pt x="1710" y="1434"/>
                    <a:pt x="2154" y="1434"/>
                  </a:cubicBezTo>
                  <a:lnTo>
                    <a:pt x="2312" y="1434"/>
                  </a:lnTo>
                  <a:cubicBezTo>
                    <a:pt x="2375" y="1434"/>
                    <a:pt x="2439" y="1371"/>
                    <a:pt x="2439" y="1307"/>
                  </a:cubicBezTo>
                  <a:cubicBezTo>
                    <a:pt x="2439" y="1244"/>
                    <a:pt x="2375" y="1181"/>
                    <a:pt x="2312" y="1181"/>
                  </a:cubicBezTo>
                  <a:lnTo>
                    <a:pt x="2217" y="1149"/>
                  </a:lnTo>
                  <a:cubicBezTo>
                    <a:pt x="2185" y="1149"/>
                    <a:pt x="2154" y="1149"/>
                    <a:pt x="2122" y="1181"/>
                  </a:cubicBezTo>
                  <a:cubicBezTo>
                    <a:pt x="1710" y="1149"/>
                    <a:pt x="1330" y="1086"/>
                    <a:pt x="1045" y="927"/>
                  </a:cubicBezTo>
                  <a:cubicBezTo>
                    <a:pt x="665" y="737"/>
                    <a:pt x="380" y="420"/>
                    <a:pt x="285" y="104"/>
                  </a:cubicBezTo>
                  <a:cubicBezTo>
                    <a:pt x="259" y="52"/>
                    <a:pt x="212" y="0"/>
                    <a:pt x="161" y="0"/>
                  </a:cubicBez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" name="Google Shape;1782;p23">
              <a:extLst>
                <a:ext uri="{FF2B5EF4-FFF2-40B4-BE49-F238E27FC236}">
                  <a16:creationId xmlns:a16="http://schemas.microsoft.com/office/drawing/2014/main" id="{C37822B9-A214-131D-13EB-A7E252BC47D9}"/>
                </a:ext>
              </a:extLst>
            </p:cNvPr>
            <p:cNvSpPr/>
            <p:nvPr/>
          </p:nvSpPr>
          <p:spPr>
            <a:xfrm>
              <a:off x="1294998" y="723042"/>
              <a:ext cx="64368" cy="26309"/>
            </a:xfrm>
            <a:custGeom>
              <a:avLst/>
              <a:gdLst/>
              <a:ahLst/>
              <a:cxnLst/>
              <a:rect l="l" t="t" r="r" b="b"/>
              <a:pathLst>
                <a:path w="1901" h="777" extrusionOk="0">
                  <a:moveTo>
                    <a:pt x="1758" y="0"/>
                  </a:moveTo>
                  <a:cubicBezTo>
                    <a:pt x="1726" y="0"/>
                    <a:pt x="1695" y="16"/>
                    <a:pt x="1679" y="48"/>
                  </a:cubicBezTo>
                  <a:cubicBezTo>
                    <a:pt x="1386" y="341"/>
                    <a:pt x="960" y="503"/>
                    <a:pt x="534" y="503"/>
                  </a:cubicBezTo>
                  <a:cubicBezTo>
                    <a:pt x="408" y="503"/>
                    <a:pt x="282" y="488"/>
                    <a:pt x="159" y="460"/>
                  </a:cubicBezTo>
                  <a:cubicBezTo>
                    <a:pt x="95" y="460"/>
                    <a:pt x="32" y="491"/>
                    <a:pt x="32" y="586"/>
                  </a:cubicBezTo>
                  <a:cubicBezTo>
                    <a:pt x="0" y="650"/>
                    <a:pt x="32" y="713"/>
                    <a:pt x="127" y="713"/>
                  </a:cubicBezTo>
                  <a:cubicBezTo>
                    <a:pt x="254" y="745"/>
                    <a:pt x="380" y="776"/>
                    <a:pt x="507" y="776"/>
                  </a:cubicBezTo>
                  <a:cubicBezTo>
                    <a:pt x="1014" y="776"/>
                    <a:pt x="1521" y="586"/>
                    <a:pt x="1837" y="238"/>
                  </a:cubicBezTo>
                  <a:cubicBezTo>
                    <a:pt x="1901" y="175"/>
                    <a:pt x="1901" y="111"/>
                    <a:pt x="1837" y="48"/>
                  </a:cubicBezTo>
                  <a:cubicBezTo>
                    <a:pt x="1821" y="16"/>
                    <a:pt x="1790" y="0"/>
                    <a:pt x="1758" y="0"/>
                  </a:cubicBez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" name="Google Shape;1783;p23">
              <a:extLst>
                <a:ext uri="{FF2B5EF4-FFF2-40B4-BE49-F238E27FC236}">
                  <a16:creationId xmlns:a16="http://schemas.microsoft.com/office/drawing/2014/main" id="{B47E7005-7A90-8D31-CEE2-2DA5DF0F61E7}"/>
                </a:ext>
              </a:extLst>
            </p:cNvPr>
            <p:cNvSpPr/>
            <p:nvPr/>
          </p:nvSpPr>
          <p:spPr>
            <a:xfrm>
              <a:off x="1328248" y="786631"/>
              <a:ext cx="55767" cy="38837"/>
            </a:xfrm>
            <a:custGeom>
              <a:avLst/>
              <a:gdLst/>
              <a:ahLst/>
              <a:cxnLst/>
              <a:rect l="l" t="t" r="r" b="b"/>
              <a:pathLst>
                <a:path w="1647" h="1147" extrusionOk="0">
                  <a:moveTo>
                    <a:pt x="1393" y="1"/>
                  </a:moveTo>
                  <a:cubicBezTo>
                    <a:pt x="772" y="1"/>
                    <a:pt x="180" y="425"/>
                    <a:pt x="32" y="988"/>
                  </a:cubicBezTo>
                  <a:cubicBezTo>
                    <a:pt x="0" y="1052"/>
                    <a:pt x="32" y="1115"/>
                    <a:pt x="127" y="1147"/>
                  </a:cubicBezTo>
                  <a:lnTo>
                    <a:pt x="159" y="1147"/>
                  </a:lnTo>
                  <a:cubicBezTo>
                    <a:pt x="190" y="1147"/>
                    <a:pt x="254" y="1083"/>
                    <a:pt x="285" y="1052"/>
                  </a:cubicBezTo>
                  <a:cubicBezTo>
                    <a:pt x="407" y="597"/>
                    <a:pt x="906" y="258"/>
                    <a:pt x="1420" y="258"/>
                  </a:cubicBezTo>
                  <a:cubicBezTo>
                    <a:pt x="1443" y="258"/>
                    <a:pt x="1466" y="259"/>
                    <a:pt x="1489" y="260"/>
                  </a:cubicBezTo>
                  <a:cubicBezTo>
                    <a:pt x="1500" y="266"/>
                    <a:pt x="1512" y="268"/>
                    <a:pt x="1523" y="268"/>
                  </a:cubicBezTo>
                  <a:cubicBezTo>
                    <a:pt x="1573" y="268"/>
                    <a:pt x="1615" y="217"/>
                    <a:pt x="1615" y="165"/>
                  </a:cubicBezTo>
                  <a:cubicBezTo>
                    <a:pt x="1647" y="70"/>
                    <a:pt x="1584" y="7"/>
                    <a:pt x="1520" y="7"/>
                  </a:cubicBezTo>
                  <a:cubicBezTo>
                    <a:pt x="1478" y="3"/>
                    <a:pt x="1435" y="1"/>
                    <a:pt x="1393" y="1"/>
                  </a:cubicBez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" name="Google Shape;1784;p23">
              <a:extLst>
                <a:ext uri="{FF2B5EF4-FFF2-40B4-BE49-F238E27FC236}">
                  <a16:creationId xmlns:a16="http://schemas.microsoft.com/office/drawing/2014/main" id="{6D59AC49-2A44-C4F0-33FC-56F48E51BB0B}"/>
                </a:ext>
              </a:extLst>
            </p:cNvPr>
            <p:cNvSpPr/>
            <p:nvPr/>
          </p:nvSpPr>
          <p:spPr>
            <a:xfrm>
              <a:off x="1370065" y="816868"/>
              <a:ext cx="47201" cy="69718"/>
            </a:xfrm>
            <a:custGeom>
              <a:avLst/>
              <a:gdLst/>
              <a:ahLst/>
              <a:cxnLst/>
              <a:rect l="l" t="t" r="r" b="b"/>
              <a:pathLst>
                <a:path w="1394" h="2059" extrusionOk="0">
                  <a:moveTo>
                    <a:pt x="127" y="0"/>
                  </a:moveTo>
                  <a:cubicBezTo>
                    <a:pt x="64" y="0"/>
                    <a:pt x="0" y="64"/>
                    <a:pt x="0" y="127"/>
                  </a:cubicBezTo>
                  <a:cubicBezTo>
                    <a:pt x="0" y="222"/>
                    <a:pt x="64" y="285"/>
                    <a:pt x="127" y="285"/>
                  </a:cubicBezTo>
                  <a:cubicBezTo>
                    <a:pt x="349" y="285"/>
                    <a:pt x="539" y="444"/>
                    <a:pt x="634" y="539"/>
                  </a:cubicBezTo>
                  <a:cubicBezTo>
                    <a:pt x="1077" y="1045"/>
                    <a:pt x="1109" y="1267"/>
                    <a:pt x="1077" y="1932"/>
                  </a:cubicBezTo>
                  <a:cubicBezTo>
                    <a:pt x="1077" y="1996"/>
                    <a:pt x="1109" y="2059"/>
                    <a:pt x="1204" y="2059"/>
                  </a:cubicBezTo>
                  <a:cubicBezTo>
                    <a:pt x="1267" y="2059"/>
                    <a:pt x="1330" y="1996"/>
                    <a:pt x="1330" y="1932"/>
                  </a:cubicBezTo>
                  <a:cubicBezTo>
                    <a:pt x="1394" y="1204"/>
                    <a:pt x="1330" y="950"/>
                    <a:pt x="824" y="380"/>
                  </a:cubicBezTo>
                  <a:cubicBezTo>
                    <a:pt x="634" y="159"/>
                    <a:pt x="380" y="32"/>
                    <a:pt x="127" y="0"/>
                  </a:cubicBez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" name="Google Shape;1785;p23">
              <a:extLst>
                <a:ext uri="{FF2B5EF4-FFF2-40B4-BE49-F238E27FC236}">
                  <a16:creationId xmlns:a16="http://schemas.microsoft.com/office/drawing/2014/main" id="{478DA7B1-6EF1-B42E-FF25-28BC1C10F49E}"/>
                </a:ext>
              </a:extLst>
            </p:cNvPr>
            <p:cNvSpPr/>
            <p:nvPr/>
          </p:nvSpPr>
          <p:spPr>
            <a:xfrm>
              <a:off x="1304648" y="571010"/>
              <a:ext cx="78318" cy="47506"/>
            </a:xfrm>
            <a:custGeom>
              <a:avLst/>
              <a:gdLst/>
              <a:ahLst/>
              <a:cxnLst/>
              <a:rect l="l" t="t" r="r" b="b"/>
              <a:pathLst>
                <a:path w="2313" h="1403" extrusionOk="0">
                  <a:moveTo>
                    <a:pt x="726" y="0"/>
                  </a:moveTo>
                  <a:cubicBezTo>
                    <a:pt x="523" y="0"/>
                    <a:pt x="309" y="33"/>
                    <a:pt x="95" y="104"/>
                  </a:cubicBezTo>
                  <a:cubicBezTo>
                    <a:pt x="32" y="104"/>
                    <a:pt x="0" y="199"/>
                    <a:pt x="0" y="263"/>
                  </a:cubicBezTo>
                  <a:cubicBezTo>
                    <a:pt x="24" y="309"/>
                    <a:pt x="64" y="338"/>
                    <a:pt x="121" y="338"/>
                  </a:cubicBezTo>
                  <a:cubicBezTo>
                    <a:pt x="142" y="338"/>
                    <a:pt x="165" y="334"/>
                    <a:pt x="191" y="326"/>
                  </a:cubicBezTo>
                  <a:cubicBezTo>
                    <a:pt x="349" y="273"/>
                    <a:pt x="513" y="248"/>
                    <a:pt x="674" y="248"/>
                  </a:cubicBezTo>
                  <a:cubicBezTo>
                    <a:pt x="898" y="248"/>
                    <a:pt x="1114" y="297"/>
                    <a:pt x="1299" y="389"/>
                  </a:cubicBezTo>
                  <a:cubicBezTo>
                    <a:pt x="1647" y="548"/>
                    <a:pt x="1837" y="928"/>
                    <a:pt x="2059" y="1339"/>
                  </a:cubicBezTo>
                  <a:cubicBezTo>
                    <a:pt x="2059" y="1371"/>
                    <a:pt x="2122" y="1403"/>
                    <a:pt x="2154" y="1403"/>
                  </a:cubicBezTo>
                  <a:lnTo>
                    <a:pt x="2217" y="1403"/>
                  </a:lnTo>
                  <a:cubicBezTo>
                    <a:pt x="2281" y="1371"/>
                    <a:pt x="2312" y="1276"/>
                    <a:pt x="2281" y="1244"/>
                  </a:cubicBezTo>
                  <a:cubicBezTo>
                    <a:pt x="2091" y="864"/>
                    <a:pt x="1869" y="389"/>
                    <a:pt x="1394" y="136"/>
                  </a:cubicBezTo>
                  <a:cubicBezTo>
                    <a:pt x="1203" y="49"/>
                    <a:pt x="973" y="0"/>
                    <a:pt x="726" y="0"/>
                  </a:cubicBez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" name="Google Shape;1786;p23">
              <a:extLst>
                <a:ext uri="{FF2B5EF4-FFF2-40B4-BE49-F238E27FC236}">
                  <a16:creationId xmlns:a16="http://schemas.microsoft.com/office/drawing/2014/main" id="{3E89A2D3-8CF1-0E86-80D4-9956B91DF5C7}"/>
                </a:ext>
              </a:extLst>
            </p:cNvPr>
            <p:cNvSpPr/>
            <p:nvPr/>
          </p:nvSpPr>
          <p:spPr>
            <a:xfrm>
              <a:off x="1267131" y="745660"/>
              <a:ext cx="43984" cy="46591"/>
            </a:xfrm>
            <a:custGeom>
              <a:avLst/>
              <a:gdLst/>
              <a:ahLst/>
              <a:cxnLst/>
              <a:rect l="l" t="t" r="r" b="b"/>
              <a:pathLst>
                <a:path w="1299" h="1376" extrusionOk="0">
                  <a:moveTo>
                    <a:pt x="145" y="1"/>
                  </a:moveTo>
                  <a:cubicBezTo>
                    <a:pt x="129" y="1"/>
                    <a:pt x="112" y="5"/>
                    <a:pt x="95" y="13"/>
                  </a:cubicBezTo>
                  <a:cubicBezTo>
                    <a:pt x="32" y="45"/>
                    <a:pt x="0" y="140"/>
                    <a:pt x="32" y="203"/>
                  </a:cubicBezTo>
                  <a:cubicBezTo>
                    <a:pt x="253" y="678"/>
                    <a:pt x="633" y="1090"/>
                    <a:pt x="1077" y="1343"/>
                  </a:cubicBezTo>
                  <a:cubicBezTo>
                    <a:pt x="1108" y="1375"/>
                    <a:pt x="1140" y="1375"/>
                    <a:pt x="1172" y="1375"/>
                  </a:cubicBezTo>
                  <a:cubicBezTo>
                    <a:pt x="1203" y="1375"/>
                    <a:pt x="1235" y="1343"/>
                    <a:pt x="1267" y="1312"/>
                  </a:cubicBezTo>
                  <a:cubicBezTo>
                    <a:pt x="1299" y="1248"/>
                    <a:pt x="1299" y="1153"/>
                    <a:pt x="1235" y="1122"/>
                  </a:cubicBezTo>
                  <a:cubicBezTo>
                    <a:pt x="792" y="868"/>
                    <a:pt x="475" y="520"/>
                    <a:pt x="253" y="77"/>
                  </a:cubicBezTo>
                  <a:cubicBezTo>
                    <a:pt x="230" y="30"/>
                    <a:pt x="190" y="1"/>
                    <a:pt x="145" y="1"/>
                  </a:cubicBez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" name="Google Shape;1787;p23">
              <a:extLst>
                <a:ext uri="{FF2B5EF4-FFF2-40B4-BE49-F238E27FC236}">
                  <a16:creationId xmlns:a16="http://schemas.microsoft.com/office/drawing/2014/main" id="{0F9669A4-8BE5-12AC-29B3-E243BDA6EB15}"/>
                </a:ext>
              </a:extLst>
            </p:cNvPr>
            <p:cNvSpPr/>
            <p:nvPr/>
          </p:nvSpPr>
          <p:spPr>
            <a:xfrm>
              <a:off x="1277831" y="846191"/>
              <a:ext cx="39718" cy="24311"/>
            </a:xfrm>
            <a:custGeom>
              <a:avLst/>
              <a:gdLst/>
              <a:ahLst/>
              <a:cxnLst/>
              <a:rect l="l" t="t" r="r" b="b"/>
              <a:pathLst>
                <a:path w="1173" h="718" extrusionOk="0">
                  <a:moveTo>
                    <a:pt x="127" y="0"/>
                  </a:moveTo>
                  <a:cubicBezTo>
                    <a:pt x="101" y="0"/>
                    <a:pt x="77" y="8"/>
                    <a:pt x="64" y="21"/>
                  </a:cubicBezTo>
                  <a:cubicBezTo>
                    <a:pt x="1" y="53"/>
                    <a:pt x="1" y="148"/>
                    <a:pt x="32" y="211"/>
                  </a:cubicBezTo>
                  <a:cubicBezTo>
                    <a:pt x="286" y="496"/>
                    <a:pt x="634" y="686"/>
                    <a:pt x="1014" y="718"/>
                  </a:cubicBezTo>
                  <a:lnTo>
                    <a:pt x="1046" y="718"/>
                  </a:lnTo>
                  <a:cubicBezTo>
                    <a:pt x="1109" y="718"/>
                    <a:pt x="1173" y="655"/>
                    <a:pt x="1173" y="591"/>
                  </a:cubicBezTo>
                  <a:cubicBezTo>
                    <a:pt x="1173" y="496"/>
                    <a:pt x="1109" y="465"/>
                    <a:pt x="1046" y="433"/>
                  </a:cubicBezTo>
                  <a:cubicBezTo>
                    <a:pt x="729" y="433"/>
                    <a:pt x="444" y="274"/>
                    <a:pt x="222" y="53"/>
                  </a:cubicBezTo>
                  <a:cubicBezTo>
                    <a:pt x="204" y="16"/>
                    <a:pt x="164" y="0"/>
                    <a:pt x="127" y="0"/>
                  </a:cubicBez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" name="Google Shape;1788;p23">
              <a:extLst>
                <a:ext uri="{FF2B5EF4-FFF2-40B4-BE49-F238E27FC236}">
                  <a16:creationId xmlns:a16="http://schemas.microsoft.com/office/drawing/2014/main" id="{341645FB-8729-F8F7-4EE0-1FA8D6628135}"/>
                </a:ext>
              </a:extLst>
            </p:cNvPr>
            <p:cNvSpPr/>
            <p:nvPr/>
          </p:nvSpPr>
          <p:spPr>
            <a:xfrm>
              <a:off x="1390449" y="679328"/>
              <a:ext cx="30034" cy="61422"/>
            </a:xfrm>
            <a:custGeom>
              <a:avLst/>
              <a:gdLst/>
              <a:ahLst/>
              <a:cxnLst/>
              <a:rect l="l" t="t" r="r" b="b"/>
              <a:pathLst>
                <a:path w="887" h="1814" extrusionOk="0">
                  <a:moveTo>
                    <a:pt x="725" y="0"/>
                  </a:moveTo>
                  <a:cubicBezTo>
                    <a:pt x="675" y="0"/>
                    <a:pt x="628" y="52"/>
                    <a:pt x="602" y="104"/>
                  </a:cubicBezTo>
                  <a:cubicBezTo>
                    <a:pt x="602" y="199"/>
                    <a:pt x="602" y="294"/>
                    <a:pt x="570" y="357"/>
                  </a:cubicBezTo>
                  <a:lnTo>
                    <a:pt x="538" y="389"/>
                  </a:lnTo>
                  <a:cubicBezTo>
                    <a:pt x="507" y="452"/>
                    <a:pt x="475" y="484"/>
                    <a:pt x="475" y="547"/>
                  </a:cubicBezTo>
                  <a:cubicBezTo>
                    <a:pt x="443" y="642"/>
                    <a:pt x="475" y="737"/>
                    <a:pt x="475" y="801"/>
                  </a:cubicBezTo>
                  <a:cubicBezTo>
                    <a:pt x="507" y="959"/>
                    <a:pt x="538" y="1117"/>
                    <a:pt x="475" y="1276"/>
                  </a:cubicBezTo>
                  <a:cubicBezTo>
                    <a:pt x="443" y="1434"/>
                    <a:pt x="285" y="1529"/>
                    <a:pt x="127" y="1561"/>
                  </a:cubicBezTo>
                  <a:cubicBezTo>
                    <a:pt x="63" y="1561"/>
                    <a:pt x="0" y="1624"/>
                    <a:pt x="0" y="1687"/>
                  </a:cubicBezTo>
                  <a:cubicBezTo>
                    <a:pt x="32" y="1751"/>
                    <a:pt x="63" y="1814"/>
                    <a:pt x="158" y="1814"/>
                  </a:cubicBezTo>
                  <a:cubicBezTo>
                    <a:pt x="412" y="1782"/>
                    <a:pt x="665" y="1592"/>
                    <a:pt x="728" y="1339"/>
                  </a:cubicBezTo>
                  <a:cubicBezTo>
                    <a:pt x="792" y="1149"/>
                    <a:pt x="760" y="927"/>
                    <a:pt x="728" y="737"/>
                  </a:cubicBezTo>
                  <a:cubicBezTo>
                    <a:pt x="728" y="706"/>
                    <a:pt x="728" y="642"/>
                    <a:pt x="728" y="611"/>
                  </a:cubicBezTo>
                  <a:cubicBezTo>
                    <a:pt x="728" y="579"/>
                    <a:pt x="760" y="547"/>
                    <a:pt x="760" y="515"/>
                  </a:cubicBezTo>
                  <a:cubicBezTo>
                    <a:pt x="760" y="515"/>
                    <a:pt x="792" y="484"/>
                    <a:pt x="792" y="452"/>
                  </a:cubicBezTo>
                  <a:cubicBezTo>
                    <a:pt x="855" y="357"/>
                    <a:pt x="855" y="230"/>
                    <a:pt x="887" y="135"/>
                  </a:cubicBezTo>
                  <a:cubicBezTo>
                    <a:pt x="887" y="72"/>
                    <a:pt x="823" y="9"/>
                    <a:pt x="760" y="9"/>
                  </a:cubicBezTo>
                  <a:cubicBezTo>
                    <a:pt x="748" y="3"/>
                    <a:pt x="737" y="0"/>
                    <a:pt x="725" y="0"/>
                  </a:cubicBez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" name="Google Shape;1789;p23">
              <a:extLst>
                <a:ext uri="{FF2B5EF4-FFF2-40B4-BE49-F238E27FC236}">
                  <a16:creationId xmlns:a16="http://schemas.microsoft.com/office/drawing/2014/main" id="{8CFCCBA3-8457-0715-821A-5E0A29FECA35}"/>
                </a:ext>
              </a:extLst>
            </p:cNvPr>
            <p:cNvSpPr/>
            <p:nvPr/>
          </p:nvSpPr>
          <p:spPr>
            <a:xfrm>
              <a:off x="1411882" y="530954"/>
              <a:ext cx="173736" cy="384582"/>
            </a:xfrm>
            <a:custGeom>
              <a:avLst/>
              <a:gdLst/>
              <a:ahLst/>
              <a:cxnLst/>
              <a:rect l="l" t="t" r="r" b="b"/>
              <a:pathLst>
                <a:path w="5131" h="11358" extrusionOk="0">
                  <a:moveTo>
                    <a:pt x="1106" y="0"/>
                  </a:moveTo>
                  <a:cubicBezTo>
                    <a:pt x="1022" y="0"/>
                    <a:pt x="939" y="7"/>
                    <a:pt x="855" y="20"/>
                  </a:cubicBezTo>
                  <a:cubicBezTo>
                    <a:pt x="475" y="115"/>
                    <a:pt x="64" y="464"/>
                    <a:pt x="127" y="907"/>
                  </a:cubicBezTo>
                  <a:cubicBezTo>
                    <a:pt x="127" y="1287"/>
                    <a:pt x="95" y="1667"/>
                    <a:pt x="95" y="2047"/>
                  </a:cubicBezTo>
                  <a:cubicBezTo>
                    <a:pt x="32" y="2839"/>
                    <a:pt x="0" y="3631"/>
                    <a:pt x="127" y="4391"/>
                  </a:cubicBezTo>
                  <a:cubicBezTo>
                    <a:pt x="159" y="4581"/>
                    <a:pt x="190" y="4866"/>
                    <a:pt x="380" y="5024"/>
                  </a:cubicBezTo>
                  <a:cubicBezTo>
                    <a:pt x="512" y="5155"/>
                    <a:pt x="703" y="5226"/>
                    <a:pt x="934" y="5226"/>
                  </a:cubicBezTo>
                  <a:cubicBezTo>
                    <a:pt x="1038" y="5226"/>
                    <a:pt x="1150" y="5212"/>
                    <a:pt x="1267" y="5183"/>
                  </a:cubicBezTo>
                  <a:cubicBezTo>
                    <a:pt x="1362" y="5151"/>
                    <a:pt x="1394" y="5088"/>
                    <a:pt x="1362" y="5024"/>
                  </a:cubicBezTo>
                  <a:cubicBezTo>
                    <a:pt x="1362" y="4972"/>
                    <a:pt x="1320" y="4921"/>
                    <a:pt x="1270" y="4921"/>
                  </a:cubicBezTo>
                  <a:cubicBezTo>
                    <a:pt x="1259" y="4921"/>
                    <a:pt x="1247" y="4923"/>
                    <a:pt x="1235" y="4929"/>
                  </a:cubicBezTo>
                  <a:cubicBezTo>
                    <a:pt x="1145" y="4942"/>
                    <a:pt x="1044" y="4955"/>
                    <a:pt x="943" y="4955"/>
                  </a:cubicBezTo>
                  <a:cubicBezTo>
                    <a:pt x="797" y="4955"/>
                    <a:pt x="651" y="4928"/>
                    <a:pt x="539" y="4834"/>
                  </a:cubicBezTo>
                  <a:cubicBezTo>
                    <a:pt x="444" y="4739"/>
                    <a:pt x="412" y="4549"/>
                    <a:pt x="380" y="4359"/>
                  </a:cubicBezTo>
                  <a:cubicBezTo>
                    <a:pt x="254" y="3631"/>
                    <a:pt x="317" y="2839"/>
                    <a:pt x="349" y="2047"/>
                  </a:cubicBezTo>
                  <a:cubicBezTo>
                    <a:pt x="349" y="1667"/>
                    <a:pt x="380" y="1287"/>
                    <a:pt x="380" y="907"/>
                  </a:cubicBezTo>
                  <a:cubicBezTo>
                    <a:pt x="317" y="591"/>
                    <a:pt x="634" y="337"/>
                    <a:pt x="919" y="274"/>
                  </a:cubicBezTo>
                  <a:cubicBezTo>
                    <a:pt x="988" y="260"/>
                    <a:pt x="1058" y="254"/>
                    <a:pt x="1128" y="254"/>
                  </a:cubicBezTo>
                  <a:cubicBezTo>
                    <a:pt x="1377" y="254"/>
                    <a:pt x="1635" y="333"/>
                    <a:pt x="1932" y="432"/>
                  </a:cubicBezTo>
                  <a:cubicBezTo>
                    <a:pt x="2217" y="527"/>
                    <a:pt x="2344" y="686"/>
                    <a:pt x="2502" y="907"/>
                  </a:cubicBezTo>
                  <a:cubicBezTo>
                    <a:pt x="2629" y="1066"/>
                    <a:pt x="2756" y="1256"/>
                    <a:pt x="2977" y="1382"/>
                  </a:cubicBezTo>
                  <a:cubicBezTo>
                    <a:pt x="3104" y="1446"/>
                    <a:pt x="3231" y="1477"/>
                    <a:pt x="3357" y="1509"/>
                  </a:cubicBezTo>
                  <a:cubicBezTo>
                    <a:pt x="3421" y="1509"/>
                    <a:pt x="3484" y="1541"/>
                    <a:pt x="3547" y="1572"/>
                  </a:cubicBezTo>
                  <a:cubicBezTo>
                    <a:pt x="3864" y="1699"/>
                    <a:pt x="4117" y="2016"/>
                    <a:pt x="4181" y="2396"/>
                  </a:cubicBezTo>
                  <a:cubicBezTo>
                    <a:pt x="4212" y="2712"/>
                    <a:pt x="4149" y="3029"/>
                    <a:pt x="3991" y="3346"/>
                  </a:cubicBezTo>
                  <a:cubicBezTo>
                    <a:pt x="3959" y="3409"/>
                    <a:pt x="3927" y="3441"/>
                    <a:pt x="3896" y="3472"/>
                  </a:cubicBezTo>
                  <a:cubicBezTo>
                    <a:pt x="3769" y="3662"/>
                    <a:pt x="3864" y="3726"/>
                    <a:pt x="3991" y="3852"/>
                  </a:cubicBezTo>
                  <a:cubicBezTo>
                    <a:pt x="4022" y="3852"/>
                    <a:pt x="4054" y="3884"/>
                    <a:pt x="4086" y="3947"/>
                  </a:cubicBezTo>
                  <a:cubicBezTo>
                    <a:pt x="4561" y="4359"/>
                    <a:pt x="4814" y="4897"/>
                    <a:pt x="4782" y="5404"/>
                  </a:cubicBezTo>
                  <a:cubicBezTo>
                    <a:pt x="4782" y="5594"/>
                    <a:pt x="4687" y="5784"/>
                    <a:pt x="4592" y="6006"/>
                  </a:cubicBezTo>
                  <a:cubicBezTo>
                    <a:pt x="4434" y="6259"/>
                    <a:pt x="4307" y="6513"/>
                    <a:pt x="4339" y="6829"/>
                  </a:cubicBezTo>
                  <a:cubicBezTo>
                    <a:pt x="4371" y="6956"/>
                    <a:pt x="4434" y="7051"/>
                    <a:pt x="4466" y="7178"/>
                  </a:cubicBezTo>
                  <a:lnTo>
                    <a:pt x="4497" y="7241"/>
                  </a:lnTo>
                  <a:cubicBezTo>
                    <a:pt x="4814" y="7938"/>
                    <a:pt x="4656" y="8824"/>
                    <a:pt x="4117" y="9331"/>
                  </a:cubicBezTo>
                  <a:lnTo>
                    <a:pt x="4086" y="9363"/>
                  </a:lnTo>
                  <a:cubicBezTo>
                    <a:pt x="3991" y="9426"/>
                    <a:pt x="3927" y="9521"/>
                    <a:pt x="3864" y="9648"/>
                  </a:cubicBezTo>
                  <a:cubicBezTo>
                    <a:pt x="3832" y="9711"/>
                    <a:pt x="3832" y="9806"/>
                    <a:pt x="3832" y="9901"/>
                  </a:cubicBezTo>
                  <a:lnTo>
                    <a:pt x="3801" y="9933"/>
                  </a:lnTo>
                  <a:cubicBezTo>
                    <a:pt x="3769" y="10281"/>
                    <a:pt x="3611" y="10535"/>
                    <a:pt x="3294" y="10693"/>
                  </a:cubicBezTo>
                  <a:cubicBezTo>
                    <a:pt x="3041" y="10851"/>
                    <a:pt x="2756" y="10883"/>
                    <a:pt x="2471" y="10915"/>
                  </a:cubicBezTo>
                  <a:cubicBezTo>
                    <a:pt x="2344" y="10915"/>
                    <a:pt x="2186" y="10946"/>
                    <a:pt x="2059" y="10978"/>
                  </a:cubicBezTo>
                  <a:cubicBezTo>
                    <a:pt x="1996" y="10978"/>
                    <a:pt x="1901" y="11010"/>
                    <a:pt x="1837" y="11010"/>
                  </a:cubicBezTo>
                  <a:cubicBezTo>
                    <a:pt x="1711" y="11041"/>
                    <a:pt x="1584" y="11073"/>
                    <a:pt x="1426" y="11073"/>
                  </a:cubicBezTo>
                  <a:cubicBezTo>
                    <a:pt x="1383" y="11083"/>
                    <a:pt x="1330" y="11091"/>
                    <a:pt x="1273" y="11091"/>
                  </a:cubicBezTo>
                  <a:cubicBezTo>
                    <a:pt x="1158" y="11091"/>
                    <a:pt x="1024" y="11062"/>
                    <a:pt x="919" y="10978"/>
                  </a:cubicBezTo>
                  <a:cubicBezTo>
                    <a:pt x="729" y="10883"/>
                    <a:pt x="602" y="10630"/>
                    <a:pt x="539" y="10281"/>
                  </a:cubicBezTo>
                  <a:cubicBezTo>
                    <a:pt x="412" y="9331"/>
                    <a:pt x="349" y="8286"/>
                    <a:pt x="444" y="7083"/>
                  </a:cubicBezTo>
                  <a:cubicBezTo>
                    <a:pt x="444" y="6829"/>
                    <a:pt x="475" y="6608"/>
                    <a:pt x="602" y="6449"/>
                  </a:cubicBezTo>
                  <a:cubicBezTo>
                    <a:pt x="697" y="6291"/>
                    <a:pt x="887" y="6196"/>
                    <a:pt x="1045" y="6196"/>
                  </a:cubicBezTo>
                  <a:cubicBezTo>
                    <a:pt x="1235" y="6196"/>
                    <a:pt x="1426" y="6291"/>
                    <a:pt x="1521" y="6449"/>
                  </a:cubicBezTo>
                  <a:cubicBezTo>
                    <a:pt x="1543" y="6472"/>
                    <a:pt x="1597" y="6494"/>
                    <a:pt x="1649" y="6494"/>
                  </a:cubicBezTo>
                  <a:cubicBezTo>
                    <a:pt x="1671" y="6494"/>
                    <a:pt x="1692" y="6490"/>
                    <a:pt x="1711" y="6481"/>
                  </a:cubicBezTo>
                  <a:cubicBezTo>
                    <a:pt x="1742" y="6418"/>
                    <a:pt x="1774" y="6354"/>
                    <a:pt x="1742" y="6291"/>
                  </a:cubicBezTo>
                  <a:cubicBezTo>
                    <a:pt x="1584" y="6069"/>
                    <a:pt x="1330" y="5943"/>
                    <a:pt x="1045" y="5943"/>
                  </a:cubicBezTo>
                  <a:cubicBezTo>
                    <a:pt x="792" y="5943"/>
                    <a:pt x="539" y="6069"/>
                    <a:pt x="380" y="6291"/>
                  </a:cubicBezTo>
                  <a:cubicBezTo>
                    <a:pt x="222" y="6513"/>
                    <a:pt x="190" y="6798"/>
                    <a:pt x="190" y="7051"/>
                  </a:cubicBezTo>
                  <a:cubicBezTo>
                    <a:pt x="95" y="8286"/>
                    <a:pt x="159" y="9363"/>
                    <a:pt x="285" y="10313"/>
                  </a:cubicBezTo>
                  <a:cubicBezTo>
                    <a:pt x="380" y="10756"/>
                    <a:pt x="507" y="11041"/>
                    <a:pt x="760" y="11200"/>
                  </a:cubicBezTo>
                  <a:cubicBezTo>
                    <a:pt x="919" y="11295"/>
                    <a:pt x="1109" y="11358"/>
                    <a:pt x="1330" y="11358"/>
                  </a:cubicBezTo>
                  <a:cubicBezTo>
                    <a:pt x="1362" y="11358"/>
                    <a:pt x="1426" y="11358"/>
                    <a:pt x="1457" y="11326"/>
                  </a:cubicBezTo>
                  <a:cubicBezTo>
                    <a:pt x="1616" y="11326"/>
                    <a:pt x="1742" y="11295"/>
                    <a:pt x="1901" y="11263"/>
                  </a:cubicBezTo>
                  <a:cubicBezTo>
                    <a:pt x="1964" y="11231"/>
                    <a:pt x="2027" y="11231"/>
                    <a:pt x="2122" y="11200"/>
                  </a:cubicBezTo>
                  <a:cubicBezTo>
                    <a:pt x="2249" y="11168"/>
                    <a:pt x="2376" y="11168"/>
                    <a:pt x="2502" y="11168"/>
                  </a:cubicBezTo>
                  <a:cubicBezTo>
                    <a:pt x="2819" y="11136"/>
                    <a:pt x="3136" y="11073"/>
                    <a:pt x="3421" y="10915"/>
                  </a:cubicBezTo>
                  <a:cubicBezTo>
                    <a:pt x="3801" y="10725"/>
                    <a:pt x="4022" y="10376"/>
                    <a:pt x="4086" y="9965"/>
                  </a:cubicBezTo>
                  <a:lnTo>
                    <a:pt x="4086" y="9901"/>
                  </a:lnTo>
                  <a:cubicBezTo>
                    <a:pt x="4086" y="9838"/>
                    <a:pt x="4086" y="9775"/>
                    <a:pt x="4117" y="9743"/>
                  </a:cubicBezTo>
                  <a:cubicBezTo>
                    <a:pt x="4149" y="9679"/>
                    <a:pt x="4212" y="9616"/>
                    <a:pt x="4276" y="9553"/>
                  </a:cubicBezTo>
                  <a:lnTo>
                    <a:pt x="4307" y="9521"/>
                  </a:lnTo>
                  <a:cubicBezTo>
                    <a:pt x="4909" y="8919"/>
                    <a:pt x="5131" y="7906"/>
                    <a:pt x="4751" y="7146"/>
                  </a:cubicBezTo>
                  <a:lnTo>
                    <a:pt x="4719" y="7051"/>
                  </a:lnTo>
                  <a:cubicBezTo>
                    <a:pt x="4656" y="6956"/>
                    <a:pt x="4624" y="6861"/>
                    <a:pt x="4624" y="6798"/>
                  </a:cubicBezTo>
                  <a:cubicBezTo>
                    <a:pt x="4561" y="6576"/>
                    <a:pt x="4687" y="6354"/>
                    <a:pt x="4814" y="6101"/>
                  </a:cubicBezTo>
                  <a:cubicBezTo>
                    <a:pt x="4941" y="5911"/>
                    <a:pt x="5036" y="5689"/>
                    <a:pt x="5067" y="5436"/>
                  </a:cubicBezTo>
                  <a:cubicBezTo>
                    <a:pt x="5099" y="4834"/>
                    <a:pt x="4814" y="4201"/>
                    <a:pt x="4276" y="3726"/>
                  </a:cubicBezTo>
                  <a:cubicBezTo>
                    <a:pt x="4212" y="3694"/>
                    <a:pt x="4181" y="3662"/>
                    <a:pt x="4149" y="3631"/>
                  </a:cubicBezTo>
                  <a:cubicBezTo>
                    <a:pt x="4149" y="3631"/>
                    <a:pt x="4117" y="3631"/>
                    <a:pt x="4117" y="3599"/>
                  </a:cubicBezTo>
                  <a:cubicBezTo>
                    <a:pt x="4149" y="3567"/>
                    <a:pt x="4181" y="3536"/>
                    <a:pt x="4212" y="3472"/>
                  </a:cubicBezTo>
                  <a:cubicBezTo>
                    <a:pt x="4402" y="3124"/>
                    <a:pt x="4497" y="2744"/>
                    <a:pt x="4434" y="2364"/>
                  </a:cubicBezTo>
                  <a:cubicBezTo>
                    <a:pt x="4371" y="1889"/>
                    <a:pt x="4054" y="1477"/>
                    <a:pt x="3642" y="1319"/>
                  </a:cubicBezTo>
                  <a:cubicBezTo>
                    <a:pt x="3579" y="1287"/>
                    <a:pt x="3484" y="1287"/>
                    <a:pt x="3421" y="1256"/>
                  </a:cubicBezTo>
                  <a:cubicBezTo>
                    <a:pt x="3294" y="1224"/>
                    <a:pt x="3199" y="1192"/>
                    <a:pt x="3136" y="1161"/>
                  </a:cubicBezTo>
                  <a:cubicBezTo>
                    <a:pt x="2946" y="1066"/>
                    <a:pt x="2819" y="907"/>
                    <a:pt x="2692" y="749"/>
                  </a:cubicBezTo>
                  <a:cubicBezTo>
                    <a:pt x="2566" y="527"/>
                    <a:pt x="2376" y="306"/>
                    <a:pt x="2027" y="179"/>
                  </a:cubicBezTo>
                  <a:cubicBezTo>
                    <a:pt x="1706" y="80"/>
                    <a:pt x="1404" y="0"/>
                    <a:pt x="1106" y="0"/>
                  </a:cubicBez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" name="Google Shape;1790;p23">
              <a:extLst>
                <a:ext uri="{FF2B5EF4-FFF2-40B4-BE49-F238E27FC236}">
                  <a16:creationId xmlns:a16="http://schemas.microsoft.com/office/drawing/2014/main" id="{12B27B2F-FF3E-9EDB-9F5E-5B43C84F0B34}"/>
                </a:ext>
              </a:extLst>
            </p:cNvPr>
            <p:cNvSpPr/>
            <p:nvPr/>
          </p:nvSpPr>
          <p:spPr>
            <a:xfrm>
              <a:off x="1462266" y="646010"/>
              <a:ext cx="103002" cy="36840"/>
            </a:xfrm>
            <a:custGeom>
              <a:avLst/>
              <a:gdLst/>
              <a:ahLst/>
              <a:cxnLst/>
              <a:rect l="l" t="t" r="r" b="b"/>
              <a:pathLst>
                <a:path w="3042" h="1088" extrusionOk="0">
                  <a:moveTo>
                    <a:pt x="1620" y="0"/>
                  </a:moveTo>
                  <a:cubicBezTo>
                    <a:pt x="1555" y="0"/>
                    <a:pt x="1491" y="4"/>
                    <a:pt x="1426" y="11"/>
                  </a:cubicBezTo>
                  <a:cubicBezTo>
                    <a:pt x="824" y="74"/>
                    <a:pt x="286" y="423"/>
                    <a:pt x="33" y="898"/>
                  </a:cubicBezTo>
                  <a:cubicBezTo>
                    <a:pt x="1" y="961"/>
                    <a:pt x="1" y="1056"/>
                    <a:pt x="64" y="1088"/>
                  </a:cubicBezTo>
                  <a:lnTo>
                    <a:pt x="128" y="1088"/>
                  </a:lnTo>
                  <a:cubicBezTo>
                    <a:pt x="191" y="1088"/>
                    <a:pt x="223" y="1088"/>
                    <a:pt x="254" y="1024"/>
                  </a:cubicBezTo>
                  <a:cubicBezTo>
                    <a:pt x="476" y="613"/>
                    <a:pt x="951" y="328"/>
                    <a:pt x="1458" y="264"/>
                  </a:cubicBezTo>
                  <a:cubicBezTo>
                    <a:pt x="1518" y="256"/>
                    <a:pt x="1580" y="252"/>
                    <a:pt x="1643" y="252"/>
                  </a:cubicBezTo>
                  <a:cubicBezTo>
                    <a:pt x="2067" y="252"/>
                    <a:pt x="2512" y="436"/>
                    <a:pt x="2788" y="739"/>
                  </a:cubicBezTo>
                  <a:cubicBezTo>
                    <a:pt x="2825" y="777"/>
                    <a:pt x="2873" y="792"/>
                    <a:pt x="2913" y="792"/>
                  </a:cubicBezTo>
                  <a:cubicBezTo>
                    <a:pt x="2941" y="792"/>
                    <a:pt x="2965" y="784"/>
                    <a:pt x="2978" y="771"/>
                  </a:cubicBezTo>
                  <a:cubicBezTo>
                    <a:pt x="3041" y="708"/>
                    <a:pt x="3041" y="644"/>
                    <a:pt x="2978" y="581"/>
                  </a:cubicBezTo>
                  <a:cubicBezTo>
                    <a:pt x="2641" y="216"/>
                    <a:pt x="2129" y="0"/>
                    <a:pt x="1620" y="0"/>
                  </a:cubicBez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" name="Google Shape;1791;p23">
              <a:extLst>
                <a:ext uri="{FF2B5EF4-FFF2-40B4-BE49-F238E27FC236}">
                  <a16:creationId xmlns:a16="http://schemas.microsoft.com/office/drawing/2014/main" id="{4BAD2517-8B0D-9DB8-C45B-A1D67AEBCD54}"/>
                </a:ext>
              </a:extLst>
            </p:cNvPr>
            <p:cNvSpPr/>
            <p:nvPr/>
          </p:nvSpPr>
          <p:spPr>
            <a:xfrm>
              <a:off x="1455833" y="869791"/>
              <a:ext cx="47235" cy="25395"/>
            </a:xfrm>
            <a:custGeom>
              <a:avLst/>
              <a:gdLst/>
              <a:ahLst/>
              <a:cxnLst/>
              <a:rect l="l" t="t" r="r" b="b"/>
              <a:pathLst>
                <a:path w="1395" h="750" extrusionOk="0">
                  <a:moveTo>
                    <a:pt x="1243" y="0"/>
                  </a:moveTo>
                  <a:cubicBezTo>
                    <a:pt x="1200" y="0"/>
                    <a:pt x="1159" y="15"/>
                    <a:pt x="1141" y="53"/>
                  </a:cubicBezTo>
                  <a:cubicBezTo>
                    <a:pt x="975" y="328"/>
                    <a:pt x="642" y="508"/>
                    <a:pt x="307" y="508"/>
                  </a:cubicBezTo>
                  <a:cubicBezTo>
                    <a:pt x="258" y="508"/>
                    <a:pt x="208" y="504"/>
                    <a:pt x="159" y="496"/>
                  </a:cubicBezTo>
                  <a:cubicBezTo>
                    <a:pt x="142" y="490"/>
                    <a:pt x="125" y="487"/>
                    <a:pt x="110" y="487"/>
                  </a:cubicBezTo>
                  <a:cubicBezTo>
                    <a:pt x="43" y="487"/>
                    <a:pt x="1" y="539"/>
                    <a:pt x="1" y="591"/>
                  </a:cubicBezTo>
                  <a:cubicBezTo>
                    <a:pt x="1" y="654"/>
                    <a:pt x="32" y="749"/>
                    <a:pt x="96" y="749"/>
                  </a:cubicBezTo>
                  <a:lnTo>
                    <a:pt x="318" y="749"/>
                  </a:lnTo>
                  <a:cubicBezTo>
                    <a:pt x="729" y="749"/>
                    <a:pt x="1173" y="528"/>
                    <a:pt x="1363" y="211"/>
                  </a:cubicBezTo>
                  <a:cubicBezTo>
                    <a:pt x="1394" y="148"/>
                    <a:pt x="1394" y="53"/>
                    <a:pt x="1331" y="21"/>
                  </a:cubicBezTo>
                  <a:cubicBezTo>
                    <a:pt x="1305" y="8"/>
                    <a:pt x="1273" y="0"/>
                    <a:pt x="1243" y="0"/>
                  </a:cubicBez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" name="Google Shape;1792;p23">
              <a:extLst>
                <a:ext uri="{FF2B5EF4-FFF2-40B4-BE49-F238E27FC236}">
                  <a16:creationId xmlns:a16="http://schemas.microsoft.com/office/drawing/2014/main" id="{23D888E9-EAED-4C16-0A30-C88A5BE820E8}"/>
                </a:ext>
              </a:extLst>
            </p:cNvPr>
            <p:cNvSpPr/>
            <p:nvPr/>
          </p:nvSpPr>
          <p:spPr>
            <a:xfrm>
              <a:off x="1438699" y="550931"/>
              <a:ext cx="38634" cy="31117"/>
            </a:xfrm>
            <a:custGeom>
              <a:avLst/>
              <a:gdLst/>
              <a:ahLst/>
              <a:cxnLst/>
              <a:rect l="l" t="t" r="r" b="b"/>
              <a:pathLst>
                <a:path w="1141" h="919" extrusionOk="0">
                  <a:moveTo>
                    <a:pt x="1014" y="1"/>
                  </a:moveTo>
                  <a:cubicBezTo>
                    <a:pt x="570" y="32"/>
                    <a:pt x="158" y="349"/>
                    <a:pt x="0" y="761"/>
                  </a:cubicBezTo>
                  <a:cubicBezTo>
                    <a:pt x="0" y="824"/>
                    <a:pt x="32" y="887"/>
                    <a:pt x="95" y="919"/>
                  </a:cubicBezTo>
                  <a:lnTo>
                    <a:pt x="127" y="919"/>
                  </a:lnTo>
                  <a:cubicBezTo>
                    <a:pt x="190" y="919"/>
                    <a:pt x="253" y="887"/>
                    <a:pt x="253" y="824"/>
                  </a:cubicBezTo>
                  <a:cubicBezTo>
                    <a:pt x="348" y="539"/>
                    <a:pt x="697" y="286"/>
                    <a:pt x="1045" y="254"/>
                  </a:cubicBezTo>
                  <a:cubicBezTo>
                    <a:pt x="1109" y="254"/>
                    <a:pt x="1140" y="191"/>
                    <a:pt x="1140" y="127"/>
                  </a:cubicBezTo>
                  <a:cubicBezTo>
                    <a:pt x="1140" y="64"/>
                    <a:pt x="1077" y="1"/>
                    <a:pt x="1014" y="1"/>
                  </a:cubicBez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" name="Google Shape;1793;p23">
              <a:extLst>
                <a:ext uri="{FF2B5EF4-FFF2-40B4-BE49-F238E27FC236}">
                  <a16:creationId xmlns:a16="http://schemas.microsoft.com/office/drawing/2014/main" id="{81DFEEE7-F1F6-45CF-066D-68D3CCFF86ED}"/>
                </a:ext>
              </a:extLst>
            </p:cNvPr>
            <p:cNvSpPr/>
            <p:nvPr/>
          </p:nvSpPr>
          <p:spPr>
            <a:xfrm>
              <a:off x="1454783" y="682410"/>
              <a:ext cx="82585" cy="48691"/>
            </a:xfrm>
            <a:custGeom>
              <a:avLst/>
              <a:gdLst/>
              <a:ahLst/>
              <a:cxnLst/>
              <a:rect l="l" t="t" r="r" b="b"/>
              <a:pathLst>
                <a:path w="2439" h="1438" extrusionOk="0">
                  <a:moveTo>
                    <a:pt x="2292" y="1"/>
                  </a:moveTo>
                  <a:cubicBezTo>
                    <a:pt x="2239" y="1"/>
                    <a:pt x="2185" y="37"/>
                    <a:pt x="2185" y="108"/>
                  </a:cubicBezTo>
                  <a:cubicBezTo>
                    <a:pt x="2090" y="424"/>
                    <a:pt x="1774" y="741"/>
                    <a:pt x="1394" y="931"/>
                  </a:cubicBezTo>
                  <a:cubicBezTo>
                    <a:pt x="1109" y="1090"/>
                    <a:pt x="729" y="1153"/>
                    <a:pt x="349" y="1153"/>
                  </a:cubicBezTo>
                  <a:cubicBezTo>
                    <a:pt x="327" y="1153"/>
                    <a:pt x="292" y="1139"/>
                    <a:pt x="262" y="1139"/>
                  </a:cubicBezTo>
                  <a:cubicBezTo>
                    <a:pt x="246" y="1139"/>
                    <a:pt x="232" y="1142"/>
                    <a:pt x="222" y="1153"/>
                  </a:cubicBezTo>
                  <a:lnTo>
                    <a:pt x="127" y="1153"/>
                  </a:lnTo>
                  <a:cubicBezTo>
                    <a:pt x="63" y="1185"/>
                    <a:pt x="0" y="1248"/>
                    <a:pt x="32" y="1311"/>
                  </a:cubicBezTo>
                  <a:cubicBezTo>
                    <a:pt x="32" y="1375"/>
                    <a:pt x="63" y="1406"/>
                    <a:pt x="127" y="1438"/>
                  </a:cubicBezTo>
                  <a:lnTo>
                    <a:pt x="285" y="1438"/>
                  </a:lnTo>
                  <a:cubicBezTo>
                    <a:pt x="760" y="1438"/>
                    <a:pt x="1172" y="1343"/>
                    <a:pt x="1520" y="1185"/>
                  </a:cubicBezTo>
                  <a:cubicBezTo>
                    <a:pt x="1964" y="963"/>
                    <a:pt x="2312" y="583"/>
                    <a:pt x="2439" y="171"/>
                  </a:cubicBezTo>
                  <a:cubicBezTo>
                    <a:pt x="2439" y="108"/>
                    <a:pt x="2407" y="13"/>
                    <a:pt x="2344" y="13"/>
                  </a:cubicBezTo>
                  <a:cubicBezTo>
                    <a:pt x="2328" y="5"/>
                    <a:pt x="2310" y="1"/>
                    <a:pt x="2292" y="1"/>
                  </a:cubicBez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" name="Google Shape;1794;p23">
              <a:extLst>
                <a:ext uri="{FF2B5EF4-FFF2-40B4-BE49-F238E27FC236}">
                  <a16:creationId xmlns:a16="http://schemas.microsoft.com/office/drawing/2014/main" id="{D22C1F90-B845-9C89-29FF-B24A94B5C785}"/>
                </a:ext>
              </a:extLst>
            </p:cNvPr>
            <p:cNvSpPr/>
            <p:nvPr/>
          </p:nvSpPr>
          <p:spPr>
            <a:xfrm>
              <a:off x="1477300" y="723042"/>
              <a:ext cx="64368" cy="26309"/>
            </a:xfrm>
            <a:custGeom>
              <a:avLst/>
              <a:gdLst/>
              <a:ahLst/>
              <a:cxnLst/>
              <a:rect l="l" t="t" r="r" b="b"/>
              <a:pathLst>
                <a:path w="1901" h="777" extrusionOk="0">
                  <a:moveTo>
                    <a:pt x="143" y="0"/>
                  </a:moveTo>
                  <a:cubicBezTo>
                    <a:pt x="111" y="0"/>
                    <a:pt x="79" y="16"/>
                    <a:pt x="64" y="48"/>
                  </a:cubicBezTo>
                  <a:cubicBezTo>
                    <a:pt x="0" y="80"/>
                    <a:pt x="0" y="175"/>
                    <a:pt x="64" y="238"/>
                  </a:cubicBezTo>
                  <a:cubicBezTo>
                    <a:pt x="380" y="586"/>
                    <a:pt x="887" y="776"/>
                    <a:pt x="1394" y="776"/>
                  </a:cubicBezTo>
                  <a:cubicBezTo>
                    <a:pt x="1520" y="776"/>
                    <a:pt x="1647" y="745"/>
                    <a:pt x="1774" y="713"/>
                  </a:cubicBezTo>
                  <a:cubicBezTo>
                    <a:pt x="1869" y="713"/>
                    <a:pt x="1900" y="650"/>
                    <a:pt x="1869" y="586"/>
                  </a:cubicBezTo>
                  <a:cubicBezTo>
                    <a:pt x="1869" y="491"/>
                    <a:pt x="1805" y="460"/>
                    <a:pt x="1742" y="460"/>
                  </a:cubicBezTo>
                  <a:cubicBezTo>
                    <a:pt x="1619" y="488"/>
                    <a:pt x="1493" y="503"/>
                    <a:pt x="1367" y="503"/>
                  </a:cubicBezTo>
                  <a:cubicBezTo>
                    <a:pt x="941" y="503"/>
                    <a:pt x="515" y="341"/>
                    <a:pt x="222" y="48"/>
                  </a:cubicBezTo>
                  <a:cubicBezTo>
                    <a:pt x="206" y="16"/>
                    <a:pt x="174" y="0"/>
                    <a:pt x="143" y="0"/>
                  </a:cubicBez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" name="Google Shape;1795;p23">
              <a:extLst>
                <a:ext uri="{FF2B5EF4-FFF2-40B4-BE49-F238E27FC236}">
                  <a16:creationId xmlns:a16="http://schemas.microsoft.com/office/drawing/2014/main" id="{D4D8F5FA-2BB1-4EDE-2CC4-6710BC111FC7}"/>
                </a:ext>
              </a:extLst>
            </p:cNvPr>
            <p:cNvSpPr/>
            <p:nvPr/>
          </p:nvSpPr>
          <p:spPr>
            <a:xfrm>
              <a:off x="1453699" y="786631"/>
              <a:ext cx="54718" cy="38837"/>
            </a:xfrm>
            <a:custGeom>
              <a:avLst/>
              <a:gdLst/>
              <a:ahLst/>
              <a:cxnLst/>
              <a:rect l="l" t="t" r="r" b="b"/>
              <a:pathLst>
                <a:path w="1616" h="1147" extrusionOk="0">
                  <a:moveTo>
                    <a:pt x="249" y="1"/>
                  </a:moveTo>
                  <a:cubicBezTo>
                    <a:pt x="208" y="1"/>
                    <a:pt x="168" y="3"/>
                    <a:pt x="127" y="7"/>
                  </a:cubicBezTo>
                  <a:cubicBezTo>
                    <a:pt x="32" y="7"/>
                    <a:pt x="0" y="70"/>
                    <a:pt x="0" y="133"/>
                  </a:cubicBezTo>
                  <a:cubicBezTo>
                    <a:pt x="0" y="228"/>
                    <a:pt x="64" y="260"/>
                    <a:pt x="127" y="260"/>
                  </a:cubicBezTo>
                  <a:cubicBezTo>
                    <a:pt x="150" y="259"/>
                    <a:pt x="173" y="258"/>
                    <a:pt x="195" y="258"/>
                  </a:cubicBezTo>
                  <a:cubicBezTo>
                    <a:pt x="710" y="258"/>
                    <a:pt x="1211" y="597"/>
                    <a:pt x="1362" y="1052"/>
                  </a:cubicBezTo>
                  <a:cubicBezTo>
                    <a:pt x="1362" y="1083"/>
                    <a:pt x="1426" y="1147"/>
                    <a:pt x="1489" y="1147"/>
                  </a:cubicBezTo>
                  <a:cubicBezTo>
                    <a:pt x="1489" y="1147"/>
                    <a:pt x="1489" y="1147"/>
                    <a:pt x="1521" y="1115"/>
                  </a:cubicBezTo>
                  <a:cubicBezTo>
                    <a:pt x="1584" y="1115"/>
                    <a:pt x="1616" y="1020"/>
                    <a:pt x="1616" y="957"/>
                  </a:cubicBezTo>
                  <a:cubicBezTo>
                    <a:pt x="1438" y="423"/>
                    <a:pt x="844" y="1"/>
                    <a:pt x="249" y="1"/>
                  </a:cubicBez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" name="Google Shape;1796;p23">
              <a:extLst>
                <a:ext uri="{FF2B5EF4-FFF2-40B4-BE49-F238E27FC236}">
                  <a16:creationId xmlns:a16="http://schemas.microsoft.com/office/drawing/2014/main" id="{7CE5A7AA-9CB1-85AE-C1E2-E1FF32DD5909}"/>
                </a:ext>
              </a:extLst>
            </p:cNvPr>
            <p:cNvSpPr/>
            <p:nvPr/>
          </p:nvSpPr>
          <p:spPr>
            <a:xfrm>
              <a:off x="1419399" y="816868"/>
              <a:ext cx="47201" cy="69718"/>
            </a:xfrm>
            <a:custGeom>
              <a:avLst/>
              <a:gdLst/>
              <a:ahLst/>
              <a:cxnLst/>
              <a:rect l="l" t="t" r="r" b="b"/>
              <a:pathLst>
                <a:path w="1394" h="2059" extrusionOk="0">
                  <a:moveTo>
                    <a:pt x="1267" y="0"/>
                  </a:moveTo>
                  <a:cubicBezTo>
                    <a:pt x="1013" y="0"/>
                    <a:pt x="760" y="127"/>
                    <a:pt x="570" y="380"/>
                  </a:cubicBezTo>
                  <a:cubicBezTo>
                    <a:pt x="63" y="950"/>
                    <a:pt x="0" y="1204"/>
                    <a:pt x="63" y="1932"/>
                  </a:cubicBezTo>
                  <a:cubicBezTo>
                    <a:pt x="63" y="1996"/>
                    <a:pt x="127" y="2059"/>
                    <a:pt x="190" y="2059"/>
                  </a:cubicBezTo>
                  <a:lnTo>
                    <a:pt x="222" y="2059"/>
                  </a:lnTo>
                  <a:cubicBezTo>
                    <a:pt x="285" y="2059"/>
                    <a:pt x="317" y="1996"/>
                    <a:pt x="317" y="1932"/>
                  </a:cubicBezTo>
                  <a:cubicBezTo>
                    <a:pt x="285" y="1267"/>
                    <a:pt x="317" y="1045"/>
                    <a:pt x="760" y="539"/>
                  </a:cubicBezTo>
                  <a:cubicBezTo>
                    <a:pt x="855" y="444"/>
                    <a:pt x="1045" y="285"/>
                    <a:pt x="1267" y="254"/>
                  </a:cubicBezTo>
                  <a:cubicBezTo>
                    <a:pt x="1330" y="254"/>
                    <a:pt x="1394" y="222"/>
                    <a:pt x="1394" y="127"/>
                  </a:cubicBezTo>
                  <a:cubicBezTo>
                    <a:pt x="1394" y="64"/>
                    <a:pt x="1330" y="0"/>
                    <a:pt x="1267" y="0"/>
                  </a:cubicBez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" name="Google Shape;1797;p23">
              <a:extLst>
                <a:ext uri="{FF2B5EF4-FFF2-40B4-BE49-F238E27FC236}">
                  <a16:creationId xmlns:a16="http://schemas.microsoft.com/office/drawing/2014/main" id="{2773ADC4-CBFF-6F56-6DEE-A5D3AD1AD8F8}"/>
                </a:ext>
              </a:extLst>
            </p:cNvPr>
            <p:cNvSpPr/>
            <p:nvPr/>
          </p:nvSpPr>
          <p:spPr>
            <a:xfrm>
              <a:off x="1453699" y="570469"/>
              <a:ext cx="78318" cy="48047"/>
            </a:xfrm>
            <a:custGeom>
              <a:avLst/>
              <a:gdLst/>
              <a:ahLst/>
              <a:cxnLst/>
              <a:rect l="l" t="t" r="r" b="b"/>
              <a:pathLst>
                <a:path w="2313" h="1419" extrusionOk="0">
                  <a:moveTo>
                    <a:pt x="1588" y="0"/>
                  </a:moveTo>
                  <a:cubicBezTo>
                    <a:pt x="1341" y="0"/>
                    <a:pt x="1111" y="47"/>
                    <a:pt x="919" y="152"/>
                  </a:cubicBezTo>
                  <a:cubicBezTo>
                    <a:pt x="444" y="405"/>
                    <a:pt x="191" y="880"/>
                    <a:pt x="32" y="1229"/>
                  </a:cubicBezTo>
                  <a:cubicBezTo>
                    <a:pt x="0" y="1292"/>
                    <a:pt x="32" y="1387"/>
                    <a:pt x="95" y="1419"/>
                  </a:cubicBezTo>
                  <a:lnTo>
                    <a:pt x="159" y="1419"/>
                  </a:lnTo>
                  <a:cubicBezTo>
                    <a:pt x="191" y="1419"/>
                    <a:pt x="254" y="1387"/>
                    <a:pt x="254" y="1355"/>
                  </a:cubicBezTo>
                  <a:cubicBezTo>
                    <a:pt x="476" y="944"/>
                    <a:pt x="666" y="564"/>
                    <a:pt x="1046" y="374"/>
                  </a:cubicBezTo>
                  <a:cubicBezTo>
                    <a:pt x="1206" y="302"/>
                    <a:pt x="1406" y="261"/>
                    <a:pt x="1623" y="261"/>
                  </a:cubicBezTo>
                  <a:cubicBezTo>
                    <a:pt x="1793" y="261"/>
                    <a:pt x="1973" y="286"/>
                    <a:pt x="2154" y="342"/>
                  </a:cubicBezTo>
                  <a:cubicBezTo>
                    <a:pt x="2171" y="350"/>
                    <a:pt x="2188" y="354"/>
                    <a:pt x="2204" y="354"/>
                  </a:cubicBezTo>
                  <a:cubicBezTo>
                    <a:pt x="2249" y="354"/>
                    <a:pt x="2289" y="325"/>
                    <a:pt x="2312" y="279"/>
                  </a:cubicBezTo>
                  <a:cubicBezTo>
                    <a:pt x="2312" y="184"/>
                    <a:pt x="2281" y="120"/>
                    <a:pt x="2217" y="89"/>
                  </a:cubicBezTo>
                  <a:cubicBezTo>
                    <a:pt x="2004" y="32"/>
                    <a:pt x="1790" y="0"/>
                    <a:pt x="1588" y="0"/>
                  </a:cubicBez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" name="Google Shape;1798;p23">
              <a:extLst>
                <a:ext uri="{FF2B5EF4-FFF2-40B4-BE49-F238E27FC236}">
                  <a16:creationId xmlns:a16="http://schemas.microsoft.com/office/drawing/2014/main" id="{55B3ECD7-0E97-4DA7-1D37-1527012CE53A}"/>
                </a:ext>
              </a:extLst>
            </p:cNvPr>
            <p:cNvSpPr/>
            <p:nvPr/>
          </p:nvSpPr>
          <p:spPr>
            <a:xfrm>
              <a:off x="1525550" y="745660"/>
              <a:ext cx="43984" cy="46591"/>
            </a:xfrm>
            <a:custGeom>
              <a:avLst/>
              <a:gdLst/>
              <a:ahLst/>
              <a:cxnLst/>
              <a:rect l="l" t="t" r="r" b="b"/>
              <a:pathLst>
                <a:path w="1299" h="1376" extrusionOk="0">
                  <a:moveTo>
                    <a:pt x="1180" y="1"/>
                  </a:moveTo>
                  <a:cubicBezTo>
                    <a:pt x="1126" y="1"/>
                    <a:pt x="1069" y="30"/>
                    <a:pt x="1045" y="77"/>
                  </a:cubicBezTo>
                  <a:cubicBezTo>
                    <a:pt x="855" y="520"/>
                    <a:pt x="507" y="900"/>
                    <a:pt x="95" y="1122"/>
                  </a:cubicBezTo>
                  <a:cubicBezTo>
                    <a:pt x="32" y="1153"/>
                    <a:pt x="0" y="1248"/>
                    <a:pt x="32" y="1312"/>
                  </a:cubicBezTo>
                  <a:cubicBezTo>
                    <a:pt x="64" y="1343"/>
                    <a:pt x="95" y="1375"/>
                    <a:pt x="159" y="1375"/>
                  </a:cubicBezTo>
                  <a:cubicBezTo>
                    <a:pt x="159" y="1375"/>
                    <a:pt x="190" y="1375"/>
                    <a:pt x="222" y="1343"/>
                  </a:cubicBezTo>
                  <a:cubicBezTo>
                    <a:pt x="665" y="1090"/>
                    <a:pt x="1045" y="678"/>
                    <a:pt x="1299" y="203"/>
                  </a:cubicBezTo>
                  <a:cubicBezTo>
                    <a:pt x="1299" y="140"/>
                    <a:pt x="1299" y="45"/>
                    <a:pt x="1235" y="13"/>
                  </a:cubicBezTo>
                  <a:cubicBezTo>
                    <a:pt x="1218" y="5"/>
                    <a:pt x="1199" y="1"/>
                    <a:pt x="1180" y="1"/>
                  </a:cubicBez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" name="Google Shape;1799;p23">
              <a:extLst>
                <a:ext uri="{FF2B5EF4-FFF2-40B4-BE49-F238E27FC236}">
                  <a16:creationId xmlns:a16="http://schemas.microsoft.com/office/drawing/2014/main" id="{668B5493-25EC-4B75-305D-2377123E0FC5}"/>
                </a:ext>
              </a:extLst>
            </p:cNvPr>
            <p:cNvSpPr/>
            <p:nvPr/>
          </p:nvSpPr>
          <p:spPr>
            <a:xfrm>
              <a:off x="1519117" y="846191"/>
              <a:ext cx="39718" cy="24311"/>
            </a:xfrm>
            <a:custGeom>
              <a:avLst/>
              <a:gdLst/>
              <a:ahLst/>
              <a:cxnLst/>
              <a:rect l="l" t="t" r="r" b="b"/>
              <a:pathLst>
                <a:path w="1173" h="718" extrusionOk="0">
                  <a:moveTo>
                    <a:pt x="1046" y="0"/>
                  </a:moveTo>
                  <a:cubicBezTo>
                    <a:pt x="1009" y="0"/>
                    <a:pt x="969" y="16"/>
                    <a:pt x="950" y="53"/>
                  </a:cubicBezTo>
                  <a:cubicBezTo>
                    <a:pt x="760" y="274"/>
                    <a:pt x="444" y="433"/>
                    <a:pt x="127" y="433"/>
                  </a:cubicBezTo>
                  <a:cubicBezTo>
                    <a:pt x="64" y="465"/>
                    <a:pt x="0" y="496"/>
                    <a:pt x="0" y="591"/>
                  </a:cubicBezTo>
                  <a:cubicBezTo>
                    <a:pt x="32" y="655"/>
                    <a:pt x="95" y="718"/>
                    <a:pt x="159" y="718"/>
                  </a:cubicBezTo>
                  <a:cubicBezTo>
                    <a:pt x="539" y="686"/>
                    <a:pt x="919" y="496"/>
                    <a:pt x="1140" y="211"/>
                  </a:cubicBezTo>
                  <a:cubicBezTo>
                    <a:pt x="1172" y="148"/>
                    <a:pt x="1172" y="53"/>
                    <a:pt x="1109" y="21"/>
                  </a:cubicBezTo>
                  <a:cubicBezTo>
                    <a:pt x="1096" y="8"/>
                    <a:pt x="1072" y="0"/>
                    <a:pt x="1046" y="0"/>
                  </a:cubicBez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" name="Google Shape;1800;p23">
              <a:extLst>
                <a:ext uri="{FF2B5EF4-FFF2-40B4-BE49-F238E27FC236}">
                  <a16:creationId xmlns:a16="http://schemas.microsoft.com/office/drawing/2014/main" id="{7F3162AB-9BC3-CA10-1D67-D3F58DEDDB60}"/>
                </a:ext>
              </a:extLst>
            </p:cNvPr>
            <p:cNvSpPr/>
            <p:nvPr/>
          </p:nvSpPr>
          <p:spPr>
            <a:xfrm>
              <a:off x="1416182" y="679599"/>
              <a:ext cx="30034" cy="61151"/>
            </a:xfrm>
            <a:custGeom>
              <a:avLst/>
              <a:gdLst/>
              <a:ahLst/>
              <a:cxnLst/>
              <a:rect l="l" t="t" r="r" b="b"/>
              <a:pathLst>
                <a:path w="887" h="1806" extrusionOk="0">
                  <a:moveTo>
                    <a:pt x="127" y="1"/>
                  </a:moveTo>
                  <a:cubicBezTo>
                    <a:pt x="63" y="1"/>
                    <a:pt x="0" y="64"/>
                    <a:pt x="32" y="159"/>
                  </a:cubicBezTo>
                  <a:cubicBezTo>
                    <a:pt x="32" y="254"/>
                    <a:pt x="63" y="349"/>
                    <a:pt x="95" y="476"/>
                  </a:cubicBezTo>
                  <a:cubicBezTo>
                    <a:pt x="127" y="476"/>
                    <a:pt x="127" y="507"/>
                    <a:pt x="127" y="507"/>
                  </a:cubicBezTo>
                  <a:cubicBezTo>
                    <a:pt x="158" y="539"/>
                    <a:pt x="158" y="571"/>
                    <a:pt x="158" y="603"/>
                  </a:cubicBezTo>
                  <a:cubicBezTo>
                    <a:pt x="190" y="634"/>
                    <a:pt x="158" y="698"/>
                    <a:pt x="158" y="729"/>
                  </a:cubicBezTo>
                  <a:cubicBezTo>
                    <a:pt x="127" y="919"/>
                    <a:pt x="95" y="1141"/>
                    <a:pt x="158" y="1363"/>
                  </a:cubicBezTo>
                  <a:cubicBezTo>
                    <a:pt x="253" y="1584"/>
                    <a:pt x="475" y="1774"/>
                    <a:pt x="728" y="1806"/>
                  </a:cubicBezTo>
                  <a:lnTo>
                    <a:pt x="760" y="1806"/>
                  </a:lnTo>
                  <a:cubicBezTo>
                    <a:pt x="823" y="1806"/>
                    <a:pt x="887" y="1743"/>
                    <a:pt x="887" y="1679"/>
                  </a:cubicBezTo>
                  <a:cubicBezTo>
                    <a:pt x="887" y="1616"/>
                    <a:pt x="823" y="1553"/>
                    <a:pt x="760" y="1553"/>
                  </a:cubicBezTo>
                  <a:cubicBezTo>
                    <a:pt x="602" y="1553"/>
                    <a:pt x="443" y="1426"/>
                    <a:pt x="412" y="1268"/>
                  </a:cubicBezTo>
                  <a:cubicBezTo>
                    <a:pt x="348" y="1141"/>
                    <a:pt x="380" y="951"/>
                    <a:pt x="412" y="793"/>
                  </a:cubicBezTo>
                  <a:cubicBezTo>
                    <a:pt x="443" y="729"/>
                    <a:pt x="443" y="634"/>
                    <a:pt x="412" y="539"/>
                  </a:cubicBezTo>
                  <a:cubicBezTo>
                    <a:pt x="412" y="507"/>
                    <a:pt x="380" y="444"/>
                    <a:pt x="348" y="412"/>
                  </a:cubicBezTo>
                  <a:lnTo>
                    <a:pt x="348" y="349"/>
                  </a:lnTo>
                  <a:cubicBezTo>
                    <a:pt x="317" y="286"/>
                    <a:pt x="285" y="191"/>
                    <a:pt x="285" y="96"/>
                  </a:cubicBezTo>
                  <a:cubicBezTo>
                    <a:pt x="285" y="32"/>
                    <a:pt x="190" y="1"/>
                    <a:pt x="127" y="1"/>
                  </a:cubicBez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745" name="Google Shape;2113;p23">
            <a:extLst>
              <a:ext uri="{FF2B5EF4-FFF2-40B4-BE49-F238E27FC236}">
                <a16:creationId xmlns:a16="http://schemas.microsoft.com/office/drawing/2014/main" id="{80BFFC0A-EEB7-8C6E-51B7-678CB1000192}"/>
              </a:ext>
            </a:extLst>
          </p:cNvPr>
          <p:cNvSpPr/>
          <p:nvPr/>
        </p:nvSpPr>
        <p:spPr>
          <a:xfrm>
            <a:off x="8229997" y="5007947"/>
            <a:ext cx="315304" cy="315270"/>
          </a:xfrm>
          <a:custGeom>
            <a:avLst/>
            <a:gdLst/>
            <a:ahLst/>
            <a:cxnLst/>
            <a:rect l="l" t="t" r="r" b="b"/>
            <a:pathLst>
              <a:path w="9312" h="9311" extrusionOk="0">
                <a:moveTo>
                  <a:pt x="4656" y="3579"/>
                </a:moveTo>
                <a:cubicBezTo>
                  <a:pt x="4719" y="3579"/>
                  <a:pt x="4783" y="3579"/>
                  <a:pt x="4846" y="3610"/>
                </a:cubicBezTo>
                <a:cubicBezTo>
                  <a:pt x="5131" y="3642"/>
                  <a:pt x="5384" y="3800"/>
                  <a:pt x="5543" y="4054"/>
                </a:cubicBezTo>
                <a:cubicBezTo>
                  <a:pt x="5701" y="4275"/>
                  <a:pt x="5764" y="4560"/>
                  <a:pt x="5701" y="4845"/>
                </a:cubicBezTo>
                <a:cubicBezTo>
                  <a:pt x="5618" y="5345"/>
                  <a:pt x="5193" y="5723"/>
                  <a:pt x="4684" y="5723"/>
                </a:cubicBezTo>
                <a:cubicBezTo>
                  <a:pt x="4613" y="5723"/>
                  <a:pt x="4540" y="5716"/>
                  <a:pt x="4466" y="5700"/>
                </a:cubicBezTo>
                <a:cubicBezTo>
                  <a:pt x="4181" y="5669"/>
                  <a:pt x="3959" y="5510"/>
                  <a:pt x="3769" y="5257"/>
                </a:cubicBezTo>
                <a:cubicBezTo>
                  <a:pt x="3611" y="5035"/>
                  <a:pt x="3548" y="4750"/>
                  <a:pt x="3611" y="4465"/>
                </a:cubicBezTo>
                <a:cubicBezTo>
                  <a:pt x="3674" y="4180"/>
                  <a:pt x="3801" y="3959"/>
                  <a:pt x="4054" y="3769"/>
                </a:cubicBezTo>
                <a:cubicBezTo>
                  <a:pt x="4244" y="3642"/>
                  <a:pt x="4434" y="3579"/>
                  <a:pt x="4656" y="3579"/>
                </a:cubicBezTo>
                <a:close/>
                <a:moveTo>
                  <a:pt x="4676" y="3337"/>
                </a:moveTo>
                <a:cubicBezTo>
                  <a:pt x="4418" y="3337"/>
                  <a:pt x="4153" y="3428"/>
                  <a:pt x="3928" y="3579"/>
                </a:cubicBezTo>
                <a:cubicBezTo>
                  <a:pt x="3611" y="3769"/>
                  <a:pt x="3421" y="4085"/>
                  <a:pt x="3389" y="4434"/>
                </a:cubicBezTo>
                <a:cubicBezTo>
                  <a:pt x="3326" y="4782"/>
                  <a:pt x="3389" y="5130"/>
                  <a:pt x="3579" y="5415"/>
                </a:cubicBezTo>
                <a:cubicBezTo>
                  <a:pt x="3801" y="5700"/>
                  <a:pt x="4086" y="5890"/>
                  <a:pt x="4434" y="5954"/>
                </a:cubicBezTo>
                <a:lnTo>
                  <a:pt x="4656" y="5954"/>
                </a:lnTo>
                <a:cubicBezTo>
                  <a:pt x="5289" y="5954"/>
                  <a:pt x="5859" y="5510"/>
                  <a:pt x="5954" y="4877"/>
                </a:cubicBezTo>
                <a:cubicBezTo>
                  <a:pt x="6018" y="4529"/>
                  <a:pt x="5954" y="4180"/>
                  <a:pt x="5733" y="3895"/>
                </a:cubicBezTo>
                <a:cubicBezTo>
                  <a:pt x="5543" y="3610"/>
                  <a:pt x="5226" y="3420"/>
                  <a:pt x="4878" y="3357"/>
                </a:cubicBezTo>
                <a:cubicBezTo>
                  <a:pt x="4812" y="3344"/>
                  <a:pt x="4744" y="3337"/>
                  <a:pt x="4676" y="3337"/>
                </a:cubicBezTo>
                <a:close/>
                <a:moveTo>
                  <a:pt x="4213" y="253"/>
                </a:moveTo>
                <a:cubicBezTo>
                  <a:pt x="4276" y="475"/>
                  <a:pt x="4656" y="1330"/>
                  <a:pt x="5226" y="1425"/>
                </a:cubicBezTo>
                <a:cubicBezTo>
                  <a:pt x="5264" y="1431"/>
                  <a:pt x="5302" y="1434"/>
                  <a:pt x="5341" y="1434"/>
                </a:cubicBezTo>
                <a:cubicBezTo>
                  <a:pt x="5906" y="1434"/>
                  <a:pt x="6469" y="813"/>
                  <a:pt x="6588" y="665"/>
                </a:cubicBezTo>
                <a:lnTo>
                  <a:pt x="7443" y="1203"/>
                </a:lnTo>
                <a:cubicBezTo>
                  <a:pt x="7348" y="1330"/>
                  <a:pt x="7190" y="1615"/>
                  <a:pt x="7126" y="1805"/>
                </a:cubicBezTo>
                <a:cubicBezTo>
                  <a:pt x="7063" y="2154"/>
                  <a:pt x="7158" y="2502"/>
                  <a:pt x="7348" y="2787"/>
                </a:cubicBezTo>
                <a:cubicBezTo>
                  <a:pt x="7623" y="3162"/>
                  <a:pt x="8253" y="3201"/>
                  <a:pt x="8615" y="3201"/>
                </a:cubicBezTo>
                <a:cubicBezTo>
                  <a:pt x="8712" y="3201"/>
                  <a:pt x="8790" y="3199"/>
                  <a:pt x="8836" y="3199"/>
                </a:cubicBezTo>
                <a:lnTo>
                  <a:pt x="9090" y="4212"/>
                </a:lnTo>
                <a:cubicBezTo>
                  <a:pt x="8868" y="4275"/>
                  <a:pt x="8013" y="4624"/>
                  <a:pt x="7886" y="5225"/>
                </a:cubicBezTo>
                <a:cubicBezTo>
                  <a:pt x="7791" y="5795"/>
                  <a:pt x="8488" y="6429"/>
                  <a:pt x="8678" y="6587"/>
                </a:cubicBezTo>
                <a:lnTo>
                  <a:pt x="8108" y="7442"/>
                </a:lnTo>
                <a:cubicBezTo>
                  <a:pt x="7979" y="7378"/>
                  <a:pt x="7527" y="7196"/>
                  <a:pt x="7102" y="7196"/>
                </a:cubicBezTo>
                <a:cubicBezTo>
                  <a:pt x="6902" y="7196"/>
                  <a:pt x="6708" y="7236"/>
                  <a:pt x="6556" y="7347"/>
                </a:cubicBezTo>
                <a:cubicBezTo>
                  <a:pt x="6271" y="7537"/>
                  <a:pt x="6113" y="7822"/>
                  <a:pt x="6049" y="8171"/>
                </a:cubicBezTo>
                <a:cubicBezTo>
                  <a:pt x="5986" y="8392"/>
                  <a:pt x="6081" y="8709"/>
                  <a:pt x="6113" y="8836"/>
                </a:cubicBezTo>
                <a:lnTo>
                  <a:pt x="5131" y="9057"/>
                </a:lnTo>
                <a:cubicBezTo>
                  <a:pt x="5036" y="8867"/>
                  <a:pt x="4688" y="7981"/>
                  <a:pt x="4118" y="7886"/>
                </a:cubicBezTo>
                <a:lnTo>
                  <a:pt x="3991" y="7886"/>
                </a:lnTo>
                <a:cubicBezTo>
                  <a:pt x="3453" y="7886"/>
                  <a:pt x="2883" y="8487"/>
                  <a:pt x="2756" y="8677"/>
                </a:cubicBezTo>
                <a:lnTo>
                  <a:pt x="1869" y="8107"/>
                </a:lnTo>
                <a:cubicBezTo>
                  <a:pt x="1964" y="7917"/>
                  <a:pt x="2344" y="7031"/>
                  <a:pt x="1996" y="6555"/>
                </a:cubicBezTo>
                <a:cubicBezTo>
                  <a:pt x="1735" y="6199"/>
                  <a:pt x="1135" y="6128"/>
                  <a:pt x="771" y="6128"/>
                </a:cubicBezTo>
                <a:cubicBezTo>
                  <a:pt x="650" y="6128"/>
                  <a:pt x="555" y="6136"/>
                  <a:pt x="507" y="6144"/>
                </a:cubicBezTo>
                <a:lnTo>
                  <a:pt x="254" y="5130"/>
                </a:lnTo>
                <a:cubicBezTo>
                  <a:pt x="476" y="5035"/>
                  <a:pt x="1331" y="4687"/>
                  <a:pt x="1426" y="4117"/>
                </a:cubicBezTo>
                <a:cubicBezTo>
                  <a:pt x="1552" y="3515"/>
                  <a:pt x="856" y="2882"/>
                  <a:pt x="666" y="2755"/>
                </a:cubicBezTo>
                <a:lnTo>
                  <a:pt x="1236" y="1869"/>
                </a:lnTo>
                <a:cubicBezTo>
                  <a:pt x="1369" y="1935"/>
                  <a:pt x="1843" y="2125"/>
                  <a:pt x="2278" y="2125"/>
                </a:cubicBezTo>
                <a:cubicBezTo>
                  <a:pt x="2465" y="2125"/>
                  <a:pt x="2645" y="2090"/>
                  <a:pt x="2788" y="1995"/>
                </a:cubicBezTo>
                <a:cubicBezTo>
                  <a:pt x="3263" y="1647"/>
                  <a:pt x="3231" y="697"/>
                  <a:pt x="3199" y="475"/>
                </a:cubicBezTo>
                <a:lnTo>
                  <a:pt x="4213" y="253"/>
                </a:lnTo>
                <a:close/>
                <a:moveTo>
                  <a:pt x="4213" y="0"/>
                </a:moveTo>
                <a:lnTo>
                  <a:pt x="3073" y="253"/>
                </a:lnTo>
                <a:cubicBezTo>
                  <a:pt x="3009" y="285"/>
                  <a:pt x="2946" y="380"/>
                  <a:pt x="2946" y="443"/>
                </a:cubicBezTo>
                <a:cubicBezTo>
                  <a:pt x="2978" y="728"/>
                  <a:pt x="2978" y="1520"/>
                  <a:pt x="2629" y="1773"/>
                </a:cubicBezTo>
                <a:cubicBezTo>
                  <a:pt x="2528" y="1847"/>
                  <a:pt x="2396" y="1875"/>
                  <a:pt x="2252" y="1875"/>
                </a:cubicBezTo>
                <a:cubicBezTo>
                  <a:pt x="1899" y="1875"/>
                  <a:pt x="1479" y="1705"/>
                  <a:pt x="1299" y="1615"/>
                </a:cubicBezTo>
                <a:cubicBezTo>
                  <a:pt x="1274" y="1607"/>
                  <a:pt x="1248" y="1603"/>
                  <a:pt x="1223" y="1603"/>
                </a:cubicBezTo>
                <a:cubicBezTo>
                  <a:pt x="1155" y="1603"/>
                  <a:pt x="1092" y="1632"/>
                  <a:pt x="1046" y="1678"/>
                </a:cubicBezTo>
                <a:lnTo>
                  <a:pt x="444" y="2660"/>
                </a:lnTo>
                <a:cubicBezTo>
                  <a:pt x="381" y="2755"/>
                  <a:pt x="412" y="2850"/>
                  <a:pt x="476" y="2914"/>
                </a:cubicBezTo>
                <a:cubicBezTo>
                  <a:pt x="697" y="3072"/>
                  <a:pt x="1267" y="3642"/>
                  <a:pt x="1204" y="4054"/>
                </a:cubicBezTo>
                <a:cubicBezTo>
                  <a:pt x="1141" y="4465"/>
                  <a:pt x="412" y="4814"/>
                  <a:pt x="127" y="4909"/>
                </a:cubicBezTo>
                <a:cubicBezTo>
                  <a:pt x="64" y="4940"/>
                  <a:pt x="1" y="5035"/>
                  <a:pt x="1" y="5130"/>
                </a:cubicBezTo>
                <a:lnTo>
                  <a:pt x="254" y="6239"/>
                </a:lnTo>
                <a:cubicBezTo>
                  <a:pt x="280" y="6317"/>
                  <a:pt x="349" y="6374"/>
                  <a:pt x="426" y="6374"/>
                </a:cubicBezTo>
                <a:cubicBezTo>
                  <a:pt x="442" y="6374"/>
                  <a:pt x="459" y="6371"/>
                  <a:pt x="476" y="6365"/>
                </a:cubicBezTo>
                <a:cubicBezTo>
                  <a:pt x="542" y="6358"/>
                  <a:pt x="635" y="6353"/>
                  <a:pt x="742" y="6353"/>
                </a:cubicBezTo>
                <a:cubicBezTo>
                  <a:pt x="1097" y="6353"/>
                  <a:pt x="1604" y="6415"/>
                  <a:pt x="1774" y="6682"/>
                </a:cubicBezTo>
                <a:cubicBezTo>
                  <a:pt x="2027" y="7031"/>
                  <a:pt x="1742" y="7759"/>
                  <a:pt x="1647" y="8044"/>
                </a:cubicBezTo>
                <a:cubicBezTo>
                  <a:pt x="1584" y="8107"/>
                  <a:pt x="1616" y="8202"/>
                  <a:pt x="1711" y="8266"/>
                </a:cubicBezTo>
                <a:lnTo>
                  <a:pt x="2661" y="8867"/>
                </a:lnTo>
                <a:cubicBezTo>
                  <a:pt x="2697" y="8892"/>
                  <a:pt x="2733" y="8902"/>
                  <a:pt x="2768" y="8902"/>
                </a:cubicBezTo>
                <a:cubicBezTo>
                  <a:pt x="2824" y="8902"/>
                  <a:pt x="2875" y="8875"/>
                  <a:pt x="2914" y="8836"/>
                </a:cubicBezTo>
                <a:cubicBezTo>
                  <a:pt x="3061" y="8631"/>
                  <a:pt x="3559" y="8128"/>
                  <a:pt x="3958" y="8128"/>
                </a:cubicBezTo>
                <a:cubicBezTo>
                  <a:pt x="3991" y="8128"/>
                  <a:pt x="4023" y="8132"/>
                  <a:pt x="4054" y="8139"/>
                </a:cubicBezTo>
                <a:cubicBezTo>
                  <a:pt x="4498" y="8202"/>
                  <a:pt x="4814" y="8899"/>
                  <a:pt x="4909" y="9184"/>
                </a:cubicBezTo>
                <a:cubicBezTo>
                  <a:pt x="4941" y="9247"/>
                  <a:pt x="5004" y="9311"/>
                  <a:pt x="5099" y="9311"/>
                </a:cubicBezTo>
                <a:lnTo>
                  <a:pt x="5131" y="9311"/>
                </a:lnTo>
                <a:lnTo>
                  <a:pt x="6239" y="9057"/>
                </a:lnTo>
                <a:cubicBezTo>
                  <a:pt x="6303" y="9026"/>
                  <a:pt x="6334" y="8994"/>
                  <a:pt x="6334" y="8962"/>
                </a:cubicBezTo>
                <a:cubicBezTo>
                  <a:pt x="6366" y="8931"/>
                  <a:pt x="6366" y="8867"/>
                  <a:pt x="6366" y="8804"/>
                </a:cubicBezTo>
                <a:cubicBezTo>
                  <a:pt x="6334" y="8709"/>
                  <a:pt x="6239" y="8361"/>
                  <a:pt x="6271" y="8202"/>
                </a:cubicBezTo>
                <a:cubicBezTo>
                  <a:pt x="6303" y="7917"/>
                  <a:pt x="6461" y="7696"/>
                  <a:pt x="6683" y="7537"/>
                </a:cubicBezTo>
                <a:cubicBezTo>
                  <a:pt x="6791" y="7459"/>
                  <a:pt x="6938" y="7429"/>
                  <a:pt x="7098" y="7429"/>
                </a:cubicBezTo>
                <a:cubicBezTo>
                  <a:pt x="7454" y="7429"/>
                  <a:pt x="7870" y="7577"/>
                  <a:pt x="8045" y="7664"/>
                </a:cubicBezTo>
                <a:cubicBezTo>
                  <a:pt x="8067" y="7686"/>
                  <a:pt x="8093" y="7697"/>
                  <a:pt x="8121" y="7697"/>
                </a:cubicBezTo>
                <a:cubicBezTo>
                  <a:pt x="8171" y="7697"/>
                  <a:pt x="8225" y="7662"/>
                  <a:pt x="8266" y="7601"/>
                </a:cubicBezTo>
                <a:lnTo>
                  <a:pt x="8900" y="6651"/>
                </a:lnTo>
                <a:cubicBezTo>
                  <a:pt x="8931" y="6555"/>
                  <a:pt x="8900" y="6460"/>
                  <a:pt x="8836" y="6397"/>
                </a:cubicBezTo>
                <a:cubicBezTo>
                  <a:pt x="8615" y="6239"/>
                  <a:pt x="8045" y="5669"/>
                  <a:pt x="8140" y="5257"/>
                </a:cubicBezTo>
                <a:cubicBezTo>
                  <a:pt x="8203" y="4845"/>
                  <a:pt x="8900" y="4497"/>
                  <a:pt x="9185" y="4402"/>
                </a:cubicBezTo>
                <a:cubicBezTo>
                  <a:pt x="9280" y="4370"/>
                  <a:pt x="9311" y="4275"/>
                  <a:pt x="9311" y="4180"/>
                </a:cubicBezTo>
                <a:lnTo>
                  <a:pt x="9058" y="3072"/>
                </a:lnTo>
                <a:cubicBezTo>
                  <a:pt x="9032" y="2994"/>
                  <a:pt x="8963" y="2937"/>
                  <a:pt x="8886" y="2937"/>
                </a:cubicBezTo>
                <a:cubicBezTo>
                  <a:pt x="8870" y="2937"/>
                  <a:pt x="8853" y="2940"/>
                  <a:pt x="8836" y="2945"/>
                </a:cubicBezTo>
                <a:cubicBezTo>
                  <a:pt x="8770" y="2953"/>
                  <a:pt x="8679" y="2958"/>
                  <a:pt x="8574" y="2958"/>
                </a:cubicBezTo>
                <a:cubicBezTo>
                  <a:pt x="8226" y="2958"/>
                  <a:pt x="7733" y="2896"/>
                  <a:pt x="7538" y="2629"/>
                </a:cubicBezTo>
                <a:cubicBezTo>
                  <a:pt x="7380" y="2407"/>
                  <a:pt x="7316" y="2122"/>
                  <a:pt x="7348" y="1837"/>
                </a:cubicBezTo>
                <a:cubicBezTo>
                  <a:pt x="7380" y="1678"/>
                  <a:pt x="7601" y="1393"/>
                  <a:pt x="7665" y="1298"/>
                </a:cubicBezTo>
                <a:cubicBezTo>
                  <a:pt x="7696" y="1235"/>
                  <a:pt x="7696" y="1203"/>
                  <a:pt x="7696" y="1140"/>
                </a:cubicBezTo>
                <a:cubicBezTo>
                  <a:pt x="7696" y="1108"/>
                  <a:pt x="7665" y="1077"/>
                  <a:pt x="7601" y="1045"/>
                </a:cubicBezTo>
                <a:lnTo>
                  <a:pt x="6651" y="412"/>
                </a:lnTo>
                <a:cubicBezTo>
                  <a:pt x="6634" y="403"/>
                  <a:pt x="6613" y="399"/>
                  <a:pt x="6589" y="399"/>
                </a:cubicBezTo>
                <a:cubicBezTo>
                  <a:pt x="6524" y="399"/>
                  <a:pt x="6444" y="429"/>
                  <a:pt x="6398" y="475"/>
                </a:cubicBezTo>
                <a:cubicBezTo>
                  <a:pt x="6251" y="680"/>
                  <a:pt x="5753" y="1182"/>
                  <a:pt x="5354" y="1182"/>
                </a:cubicBezTo>
                <a:cubicBezTo>
                  <a:pt x="5321" y="1182"/>
                  <a:pt x="5289" y="1179"/>
                  <a:pt x="5258" y="1172"/>
                </a:cubicBezTo>
                <a:cubicBezTo>
                  <a:pt x="4846" y="1108"/>
                  <a:pt x="4498" y="380"/>
                  <a:pt x="4403" y="127"/>
                </a:cubicBezTo>
                <a:cubicBezTo>
                  <a:pt x="4371" y="32"/>
                  <a:pt x="4308" y="0"/>
                  <a:pt x="4213" y="0"/>
                </a:cubicBezTo>
                <a:close/>
              </a:path>
            </a:pathLst>
          </a:custGeom>
          <a:solidFill>
            <a:srgbClr val="22283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746" name="Google Shape;2114;p23">
            <a:extLst>
              <a:ext uri="{FF2B5EF4-FFF2-40B4-BE49-F238E27FC236}">
                <a16:creationId xmlns:a16="http://schemas.microsoft.com/office/drawing/2014/main" id="{9728AABD-EE35-19C7-705F-65F6C4467C72}"/>
              </a:ext>
            </a:extLst>
          </p:cNvPr>
          <p:cNvSpPr/>
          <p:nvPr/>
        </p:nvSpPr>
        <p:spPr>
          <a:xfrm>
            <a:off x="7927593" y="4895972"/>
            <a:ext cx="307787" cy="307144"/>
          </a:xfrm>
          <a:custGeom>
            <a:avLst/>
            <a:gdLst/>
            <a:ahLst/>
            <a:cxnLst/>
            <a:rect l="l" t="t" r="r" b="b"/>
            <a:pathLst>
              <a:path w="9090" h="9071" extrusionOk="0">
                <a:moveTo>
                  <a:pt x="4524" y="3349"/>
                </a:moveTo>
                <a:cubicBezTo>
                  <a:pt x="4598" y="3349"/>
                  <a:pt x="4674" y="3356"/>
                  <a:pt x="4751" y="3370"/>
                </a:cubicBezTo>
                <a:cubicBezTo>
                  <a:pt x="5385" y="3465"/>
                  <a:pt x="5828" y="4099"/>
                  <a:pt x="5733" y="4732"/>
                </a:cubicBezTo>
                <a:cubicBezTo>
                  <a:pt x="5619" y="5333"/>
                  <a:pt x="5116" y="5727"/>
                  <a:pt x="4529" y="5727"/>
                </a:cubicBezTo>
                <a:cubicBezTo>
                  <a:pt x="4467" y="5727"/>
                  <a:pt x="4403" y="5723"/>
                  <a:pt x="4340" y="5714"/>
                </a:cubicBezTo>
                <a:cubicBezTo>
                  <a:pt x="3706" y="5587"/>
                  <a:pt x="3263" y="4985"/>
                  <a:pt x="3358" y="4320"/>
                </a:cubicBezTo>
                <a:cubicBezTo>
                  <a:pt x="3470" y="3760"/>
                  <a:pt x="3954" y="3349"/>
                  <a:pt x="4524" y="3349"/>
                </a:cubicBezTo>
                <a:close/>
                <a:moveTo>
                  <a:pt x="4145" y="0"/>
                </a:moveTo>
                <a:cubicBezTo>
                  <a:pt x="4136" y="0"/>
                  <a:pt x="4127" y="4"/>
                  <a:pt x="4118" y="13"/>
                </a:cubicBezTo>
                <a:lnTo>
                  <a:pt x="3010" y="235"/>
                </a:lnTo>
                <a:cubicBezTo>
                  <a:pt x="2978" y="267"/>
                  <a:pt x="2946" y="298"/>
                  <a:pt x="2946" y="330"/>
                </a:cubicBezTo>
                <a:cubicBezTo>
                  <a:pt x="2946" y="330"/>
                  <a:pt x="3073" y="1407"/>
                  <a:pt x="2598" y="1755"/>
                </a:cubicBezTo>
                <a:cubicBezTo>
                  <a:pt x="2462" y="1849"/>
                  <a:pt x="2292" y="1883"/>
                  <a:pt x="2116" y="1883"/>
                </a:cubicBezTo>
                <a:cubicBezTo>
                  <a:pt x="1635" y="1883"/>
                  <a:pt x="1109" y="1629"/>
                  <a:pt x="1109" y="1629"/>
                </a:cubicBezTo>
                <a:cubicBezTo>
                  <a:pt x="1094" y="1613"/>
                  <a:pt x="1078" y="1605"/>
                  <a:pt x="1066" y="1605"/>
                </a:cubicBezTo>
                <a:cubicBezTo>
                  <a:pt x="1054" y="1605"/>
                  <a:pt x="1046" y="1613"/>
                  <a:pt x="1046" y="1629"/>
                </a:cubicBezTo>
                <a:lnTo>
                  <a:pt x="413" y="2610"/>
                </a:lnTo>
                <a:cubicBezTo>
                  <a:pt x="413" y="2610"/>
                  <a:pt x="413" y="2674"/>
                  <a:pt x="444" y="2674"/>
                </a:cubicBezTo>
                <a:cubicBezTo>
                  <a:pt x="444" y="2674"/>
                  <a:pt x="1299" y="3370"/>
                  <a:pt x="1204" y="3940"/>
                </a:cubicBezTo>
                <a:cubicBezTo>
                  <a:pt x="1109" y="4542"/>
                  <a:pt x="64" y="4890"/>
                  <a:pt x="64" y="4890"/>
                </a:cubicBezTo>
                <a:cubicBezTo>
                  <a:pt x="33" y="4890"/>
                  <a:pt x="1" y="4954"/>
                  <a:pt x="33" y="4985"/>
                </a:cubicBezTo>
                <a:lnTo>
                  <a:pt x="254" y="6094"/>
                </a:lnTo>
                <a:cubicBezTo>
                  <a:pt x="286" y="6126"/>
                  <a:pt x="318" y="6126"/>
                  <a:pt x="349" y="6126"/>
                </a:cubicBezTo>
                <a:cubicBezTo>
                  <a:pt x="349" y="6126"/>
                  <a:pt x="469" y="6111"/>
                  <a:pt x="641" y="6111"/>
                </a:cubicBezTo>
                <a:cubicBezTo>
                  <a:pt x="986" y="6111"/>
                  <a:pt x="1542" y="6168"/>
                  <a:pt x="1774" y="6506"/>
                </a:cubicBezTo>
                <a:cubicBezTo>
                  <a:pt x="2123" y="6981"/>
                  <a:pt x="1648" y="7962"/>
                  <a:pt x="1648" y="7962"/>
                </a:cubicBezTo>
                <a:cubicBezTo>
                  <a:pt x="1616" y="7994"/>
                  <a:pt x="1616" y="8026"/>
                  <a:pt x="1648" y="8057"/>
                </a:cubicBezTo>
                <a:lnTo>
                  <a:pt x="2629" y="8659"/>
                </a:lnTo>
                <a:cubicBezTo>
                  <a:pt x="2629" y="8659"/>
                  <a:pt x="2693" y="8659"/>
                  <a:pt x="2693" y="8627"/>
                </a:cubicBezTo>
                <a:cubicBezTo>
                  <a:pt x="2693" y="8627"/>
                  <a:pt x="3318" y="7860"/>
                  <a:pt x="3869" y="7860"/>
                </a:cubicBezTo>
                <a:cubicBezTo>
                  <a:pt x="3899" y="7860"/>
                  <a:pt x="3930" y="7862"/>
                  <a:pt x="3960" y="7867"/>
                </a:cubicBezTo>
                <a:cubicBezTo>
                  <a:pt x="4561" y="7994"/>
                  <a:pt x="4910" y="9007"/>
                  <a:pt x="4910" y="9007"/>
                </a:cubicBezTo>
                <a:cubicBezTo>
                  <a:pt x="4941" y="9039"/>
                  <a:pt x="4973" y="9071"/>
                  <a:pt x="5005" y="9071"/>
                </a:cubicBezTo>
                <a:lnTo>
                  <a:pt x="6113" y="8817"/>
                </a:lnTo>
                <a:cubicBezTo>
                  <a:pt x="6145" y="8817"/>
                  <a:pt x="6145" y="8786"/>
                  <a:pt x="6145" y="8754"/>
                </a:cubicBezTo>
                <a:cubicBezTo>
                  <a:pt x="6145" y="8754"/>
                  <a:pt x="5986" y="8311"/>
                  <a:pt x="6050" y="8057"/>
                </a:cubicBezTo>
                <a:cubicBezTo>
                  <a:pt x="6081" y="7772"/>
                  <a:pt x="6271" y="7487"/>
                  <a:pt x="6525" y="7297"/>
                </a:cubicBezTo>
                <a:cubicBezTo>
                  <a:pt x="6644" y="7218"/>
                  <a:pt x="6794" y="7188"/>
                  <a:pt x="6953" y="7188"/>
                </a:cubicBezTo>
                <a:cubicBezTo>
                  <a:pt x="7429" y="7188"/>
                  <a:pt x="7982" y="7456"/>
                  <a:pt x="7982" y="7456"/>
                </a:cubicBezTo>
                <a:cubicBezTo>
                  <a:pt x="8013" y="7456"/>
                  <a:pt x="8045" y="7456"/>
                  <a:pt x="8077" y="7424"/>
                </a:cubicBezTo>
                <a:lnTo>
                  <a:pt x="8678" y="6474"/>
                </a:lnTo>
                <a:cubicBezTo>
                  <a:pt x="8678" y="6442"/>
                  <a:pt x="8678" y="6411"/>
                  <a:pt x="8647" y="6379"/>
                </a:cubicBezTo>
                <a:cubicBezTo>
                  <a:pt x="8647" y="6379"/>
                  <a:pt x="7792" y="5682"/>
                  <a:pt x="7887" y="5112"/>
                </a:cubicBezTo>
                <a:cubicBezTo>
                  <a:pt x="8013" y="4542"/>
                  <a:pt x="9027" y="4162"/>
                  <a:pt x="9027" y="4162"/>
                </a:cubicBezTo>
                <a:cubicBezTo>
                  <a:pt x="9058" y="4162"/>
                  <a:pt x="9090" y="4130"/>
                  <a:pt x="9090" y="4099"/>
                </a:cubicBezTo>
                <a:lnTo>
                  <a:pt x="8837" y="2990"/>
                </a:lnTo>
                <a:cubicBezTo>
                  <a:pt x="8805" y="2959"/>
                  <a:pt x="8773" y="2927"/>
                  <a:pt x="8742" y="2927"/>
                </a:cubicBezTo>
                <a:cubicBezTo>
                  <a:pt x="8742" y="2927"/>
                  <a:pt x="8611" y="2942"/>
                  <a:pt x="8427" y="2942"/>
                </a:cubicBezTo>
                <a:cubicBezTo>
                  <a:pt x="8081" y="2942"/>
                  <a:pt x="7544" y="2888"/>
                  <a:pt x="7317" y="2579"/>
                </a:cubicBezTo>
                <a:cubicBezTo>
                  <a:pt x="7126" y="2325"/>
                  <a:pt x="7063" y="2009"/>
                  <a:pt x="7126" y="1692"/>
                </a:cubicBezTo>
                <a:cubicBezTo>
                  <a:pt x="7190" y="1470"/>
                  <a:pt x="7443" y="1090"/>
                  <a:pt x="7443" y="1090"/>
                </a:cubicBezTo>
                <a:cubicBezTo>
                  <a:pt x="7475" y="1059"/>
                  <a:pt x="7475" y="1027"/>
                  <a:pt x="7443" y="1027"/>
                </a:cubicBezTo>
                <a:lnTo>
                  <a:pt x="6493" y="394"/>
                </a:lnTo>
                <a:cubicBezTo>
                  <a:pt x="6461" y="394"/>
                  <a:pt x="6430" y="394"/>
                  <a:pt x="6398" y="425"/>
                </a:cubicBezTo>
                <a:cubicBezTo>
                  <a:pt x="6398" y="425"/>
                  <a:pt x="5773" y="1193"/>
                  <a:pt x="5222" y="1193"/>
                </a:cubicBezTo>
                <a:cubicBezTo>
                  <a:pt x="5192" y="1193"/>
                  <a:pt x="5161" y="1190"/>
                  <a:pt x="5131" y="1185"/>
                </a:cubicBezTo>
                <a:cubicBezTo>
                  <a:pt x="4561" y="1090"/>
                  <a:pt x="4181" y="45"/>
                  <a:pt x="4181" y="45"/>
                </a:cubicBezTo>
                <a:cubicBezTo>
                  <a:pt x="4181" y="23"/>
                  <a:pt x="4165" y="0"/>
                  <a:pt x="4145" y="0"/>
                </a:cubicBezTo>
                <a:close/>
              </a:path>
            </a:pathLst>
          </a:custGeom>
          <a:solidFill>
            <a:srgbClr val="22283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49" name="Google Shape;2240;p25">
            <a:extLst>
              <a:ext uri="{FF2B5EF4-FFF2-40B4-BE49-F238E27FC236}">
                <a16:creationId xmlns:a16="http://schemas.microsoft.com/office/drawing/2014/main" id="{2F76FB13-9124-3863-4AEA-C29672A461BE}"/>
              </a:ext>
            </a:extLst>
          </p:cNvPr>
          <p:cNvSpPr/>
          <p:nvPr/>
        </p:nvSpPr>
        <p:spPr>
          <a:xfrm>
            <a:off x="5440851" y="4176221"/>
            <a:ext cx="241708" cy="147606"/>
          </a:xfrm>
          <a:custGeom>
            <a:avLst/>
            <a:gdLst/>
            <a:ahLst/>
            <a:cxnLst/>
            <a:rect l="l" t="t" r="r" b="b"/>
            <a:pathLst>
              <a:path w="8299" h="5068" extrusionOk="0">
                <a:moveTo>
                  <a:pt x="8298" y="0"/>
                </a:moveTo>
                <a:lnTo>
                  <a:pt x="8298" y="0"/>
                </a:lnTo>
                <a:cubicBezTo>
                  <a:pt x="7411" y="444"/>
                  <a:pt x="6240" y="855"/>
                  <a:pt x="5321" y="950"/>
                </a:cubicBezTo>
                <a:lnTo>
                  <a:pt x="6651" y="1520"/>
                </a:lnTo>
                <a:lnTo>
                  <a:pt x="5163" y="3072"/>
                </a:lnTo>
                <a:lnTo>
                  <a:pt x="2978" y="1457"/>
                </a:lnTo>
                <a:lnTo>
                  <a:pt x="64" y="4782"/>
                </a:lnTo>
                <a:cubicBezTo>
                  <a:pt x="1" y="4877"/>
                  <a:pt x="33" y="4972"/>
                  <a:pt x="96" y="5036"/>
                </a:cubicBezTo>
                <a:cubicBezTo>
                  <a:pt x="128" y="5036"/>
                  <a:pt x="159" y="5067"/>
                  <a:pt x="191" y="5067"/>
                </a:cubicBezTo>
                <a:cubicBezTo>
                  <a:pt x="254" y="5067"/>
                  <a:pt x="286" y="5036"/>
                  <a:pt x="318" y="5004"/>
                </a:cubicBezTo>
                <a:lnTo>
                  <a:pt x="3041" y="1901"/>
                </a:lnTo>
                <a:lnTo>
                  <a:pt x="5195" y="3516"/>
                </a:lnTo>
                <a:lnTo>
                  <a:pt x="6873" y="1742"/>
                </a:lnTo>
                <a:lnTo>
                  <a:pt x="7507" y="3041"/>
                </a:lnTo>
                <a:cubicBezTo>
                  <a:pt x="7538" y="2122"/>
                  <a:pt x="7918" y="887"/>
                  <a:pt x="8298" y="0"/>
                </a:cubicBezTo>
                <a:close/>
              </a:path>
            </a:pathLst>
          </a:custGeom>
          <a:solidFill>
            <a:srgbClr val="F2A365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0" name="Google Shape;2241;p25">
            <a:extLst>
              <a:ext uri="{FF2B5EF4-FFF2-40B4-BE49-F238E27FC236}">
                <a16:creationId xmlns:a16="http://schemas.microsoft.com/office/drawing/2014/main" id="{B5F8C187-3B3E-22AF-8D9A-69254F3E7CEC}"/>
              </a:ext>
            </a:extLst>
          </p:cNvPr>
          <p:cNvSpPr/>
          <p:nvPr/>
        </p:nvSpPr>
        <p:spPr>
          <a:xfrm>
            <a:off x="5379077" y="4138388"/>
            <a:ext cx="318220" cy="255543"/>
          </a:xfrm>
          <a:custGeom>
            <a:avLst/>
            <a:gdLst/>
            <a:ahLst/>
            <a:cxnLst/>
            <a:rect l="l" t="t" r="r" b="b"/>
            <a:pathLst>
              <a:path w="10926" h="8774" extrusionOk="0">
                <a:moveTo>
                  <a:pt x="633" y="1"/>
                </a:moveTo>
                <a:cubicBezTo>
                  <a:pt x="253" y="1"/>
                  <a:pt x="0" y="64"/>
                  <a:pt x="0" y="159"/>
                </a:cubicBezTo>
                <a:lnTo>
                  <a:pt x="0" y="8615"/>
                </a:lnTo>
                <a:cubicBezTo>
                  <a:pt x="0" y="8710"/>
                  <a:pt x="285" y="8773"/>
                  <a:pt x="633" y="8773"/>
                </a:cubicBezTo>
                <a:lnTo>
                  <a:pt x="10768" y="8773"/>
                </a:lnTo>
                <a:cubicBezTo>
                  <a:pt x="10863" y="8773"/>
                  <a:pt x="10926" y="8520"/>
                  <a:pt x="10926" y="8172"/>
                </a:cubicBezTo>
                <a:cubicBezTo>
                  <a:pt x="10926" y="7823"/>
                  <a:pt x="10863" y="7570"/>
                  <a:pt x="10768" y="7570"/>
                </a:cubicBezTo>
                <a:lnTo>
                  <a:pt x="1267" y="7570"/>
                </a:lnTo>
                <a:lnTo>
                  <a:pt x="1267" y="159"/>
                </a:lnTo>
                <a:cubicBezTo>
                  <a:pt x="1267" y="64"/>
                  <a:pt x="982" y="1"/>
                  <a:pt x="633" y="1"/>
                </a:cubicBezTo>
                <a:close/>
              </a:path>
            </a:pathLst>
          </a:custGeom>
          <a:solidFill>
            <a:srgbClr val="30475E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4" name="Google Shape;2822;p31">
            <a:extLst>
              <a:ext uri="{FF2B5EF4-FFF2-40B4-BE49-F238E27FC236}">
                <a16:creationId xmlns:a16="http://schemas.microsoft.com/office/drawing/2014/main" id="{CFEEC3F8-B576-13B5-A7A0-594BFA6C00BF}"/>
              </a:ext>
            </a:extLst>
          </p:cNvPr>
          <p:cNvSpPr txBox="1"/>
          <p:nvPr/>
        </p:nvSpPr>
        <p:spPr>
          <a:xfrm>
            <a:off x="627589" y="656838"/>
            <a:ext cx="3463318" cy="6854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latin typeface="Fira Sans Medium"/>
                <a:ea typeface="Fira Sans Medium"/>
                <a:cs typeface="Fira Sans Medium"/>
                <a:sym typeface="Fira Sans Medium"/>
              </a:rPr>
              <a:t>Use Case handling</a:t>
            </a:r>
          </a:p>
        </p:txBody>
      </p:sp>
      <p:sp>
        <p:nvSpPr>
          <p:cNvPr id="762" name="TextBox 761">
            <a:extLst>
              <a:ext uri="{FF2B5EF4-FFF2-40B4-BE49-F238E27FC236}">
                <a16:creationId xmlns:a16="http://schemas.microsoft.com/office/drawing/2014/main" id="{CBC9FB3C-B8EA-DE3D-F32F-C0B8AE389DF7}"/>
              </a:ext>
            </a:extLst>
          </p:cNvPr>
          <p:cNvSpPr txBox="1"/>
          <p:nvPr/>
        </p:nvSpPr>
        <p:spPr>
          <a:xfrm>
            <a:off x="2144837" y="1793910"/>
            <a:ext cx="2271092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/>
              <a:t>Use Case </a:t>
            </a:r>
            <a:r>
              <a:rPr lang="de-DE" sz="1400" b="1" dirty="0" err="1"/>
              <a:t>Idea</a:t>
            </a:r>
            <a:endParaRPr lang="de-DE" sz="1400" b="1" dirty="0"/>
          </a:p>
          <a:p>
            <a:endParaRPr lang="de-DE" sz="1200" dirty="0"/>
          </a:p>
        </p:txBody>
      </p:sp>
      <p:sp>
        <p:nvSpPr>
          <p:cNvPr id="3" name="Slide Number Placeholder 1">
            <a:extLst>
              <a:ext uri="{FF2B5EF4-FFF2-40B4-BE49-F238E27FC236}">
                <a16:creationId xmlns:a16="http://schemas.microsoft.com/office/drawing/2014/main" id="{8B61840E-3FC5-D120-A6C4-9EF4BAE41E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BBE0597C-028E-473F-BF50-BBB8B8A24EC3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82645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74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Green Yellow">
      <a:dk1>
        <a:sysClr val="windowText" lastClr="000000"/>
      </a:dk1>
      <a:lt1>
        <a:sysClr val="window" lastClr="FFFFFF"/>
      </a:lt1>
      <a:dk2>
        <a:srgbClr val="455F51"/>
      </a:dk2>
      <a:lt2>
        <a:srgbClr val="E2DFCC"/>
      </a:lt2>
      <a:accent1>
        <a:srgbClr val="99CB38"/>
      </a:accent1>
      <a:accent2>
        <a:srgbClr val="63A537"/>
      </a:accent2>
      <a:accent3>
        <a:srgbClr val="37A76F"/>
      </a:accent3>
      <a:accent4>
        <a:srgbClr val="44C1A3"/>
      </a:accent4>
      <a:accent5>
        <a:srgbClr val="4EB3CF"/>
      </a:accent5>
      <a:accent6>
        <a:srgbClr val="51C3F9"/>
      </a:accent6>
      <a:hlink>
        <a:srgbClr val="EE7B08"/>
      </a:hlink>
      <a:folHlink>
        <a:srgbClr val="977B2D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Benutzerdefiniert 48">
      <a:dk1>
        <a:srgbClr val="202020"/>
      </a:dk1>
      <a:lt1>
        <a:srgbClr val="FFFFFF"/>
      </a:lt1>
      <a:dk2>
        <a:srgbClr val="028F61"/>
      </a:dk2>
      <a:lt2>
        <a:srgbClr val="2871ED"/>
      </a:lt2>
      <a:accent1>
        <a:srgbClr val="0CB33F"/>
      </a:accent1>
      <a:accent2>
        <a:srgbClr val="EB4C79"/>
      </a:accent2>
      <a:accent3>
        <a:srgbClr val="245375"/>
      </a:accent3>
      <a:accent4>
        <a:srgbClr val="FF6130"/>
      </a:accent4>
      <a:accent5>
        <a:srgbClr val="02A3A3"/>
      </a:accent5>
      <a:accent6>
        <a:srgbClr val="711C79"/>
      </a:accent6>
      <a:hlink>
        <a:srgbClr val="202020"/>
      </a:hlink>
      <a:folHlink>
        <a:srgbClr val="202020"/>
      </a:folHlink>
    </a:clrScheme>
    <a:fontScheme name="Benutzerdefiniert 246">
      <a:majorFont>
        <a:latin typeface="Inter SemiBold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Benutzerdefiniert 48">
      <a:dk1>
        <a:srgbClr val="202020"/>
      </a:dk1>
      <a:lt1>
        <a:srgbClr val="FFFFFF"/>
      </a:lt1>
      <a:dk2>
        <a:srgbClr val="028F61"/>
      </a:dk2>
      <a:lt2>
        <a:srgbClr val="2871ED"/>
      </a:lt2>
      <a:accent1>
        <a:srgbClr val="0CB33F"/>
      </a:accent1>
      <a:accent2>
        <a:srgbClr val="EB4C79"/>
      </a:accent2>
      <a:accent3>
        <a:srgbClr val="245375"/>
      </a:accent3>
      <a:accent4>
        <a:srgbClr val="FF6130"/>
      </a:accent4>
      <a:accent5>
        <a:srgbClr val="02A3A3"/>
      </a:accent5>
      <a:accent6>
        <a:srgbClr val="711C79"/>
      </a:accent6>
      <a:hlink>
        <a:srgbClr val="202020"/>
      </a:hlink>
      <a:folHlink>
        <a:srgbClr val="202020"/>
      </a:folHlink>
    </a:clrScheme>
    <a:fontScheme name="Benutzerdefiniert 246">
      <a:majorFont>
        <a:latin typeface="Inter SemiBold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FF803BB70EF50C41BB2A5C2635DAF056" ma:contentTypeVersion="21" ma:contentTypeDescription="Ein neues Dokument erstellen." ma:contentTypeScope="" ma:versionID="1152844981ec753476d43c9f5c630c15">
  <xsd:schema xmlns:xsd="http://www.w3.org/2001/XMLSchema" xmlns:xs="http://www.w3.org/2001/XMLSchema" xmlns:p="http://schemas.microsoft.com/office/2006/metadata/properties" xmlns:ns1="http://schemas.microsoft.com/sharepoint/v3" xmlns:ns2="http://schemas.microsoft.com/sharepoint/v3/fields" xmlns:ns3="9f569348-c938-4593-81cf-7ffc44af308f" xmlns:ns4="a58d8796-6d30-4464-bf9b-797091132d28" targetNamespace="http://schemas.microsoft.com/office/2006/metadata/properties" ma:root="true" ma:fieldsID="6ec8315868055fef03acca7d31a458cd" ns1:_="" ns2:_="" ns3:_="" ns4:_="">
    <xsd:import namespace="http://schemas.microsoft.com/sharepoint/v3"/>
    <xsd:import namespace="http://schemas.microsoft.com/sharepoint/v3/fields"/>
    <xsd:import namespace="9f569348-c938-4593-81cf-7ffc44af308f"/>
    <xsd:import namespace="a58d8796-6d30-4464-bf9b-797091132d28"/>
    <xsd:element name="properties">
      <xsd:complexType>
        <xsd:sequence>
          <xsd:element name="documentManagement">
            <xsd:complexType>
              <xsd:all>
                <xsd:element ref="ns2:_Version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MediaServiceLocation" minOccurs="0"/>
                <xsd:element ref="ns1:_ip_UnifiedCompliancePolicyProperties" minOccurs="0"/>
                <xsd:element ref="ns1:_ip_UnifiedCompliancePolicyUIAction" minOccurs="0"/>
                <xsd:element ref="ns3:MediaLengthInSeconds" minOccurs="0"/>
                <xsd:element ref="ns3:lcf76f155ced4ddcb4097134ff3c332f" minOccurs="0"/>
                <xsd:element ref="ns4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1" nillable="true" ma:displayName="Eigenschaften der einheitlichen Compliancerichtlinie" ma:hidden="true" ma:internalName="_ip_UnifiedCompliancePolicyProperties">
      <xsd:simpleType>
        <xsd:restriction base="dms:Note"/>
      </xsd:simpleType>
    </xsd:element>
    <xsd:element name="_ip_UnifiedCompliancePolicyUIAction" ma:index="22" nillable="true" ma:displayName="UI-Aktion der einheitlichen Compliancerichtlinie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Version" ma:index="2" nillable="true" ma:displayName="Version" ma:internalName="_Vers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f569348-c938-4593-81cf-7ffc44af308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3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5" nillable="true" ma:taxonomy="true" ma:internalName="lcf76f155ced4ddcb4097134ff3c332f" ma:taxonomyFieldName="MediaServiceImageTags" ma:displayName="Bildmarkierungen" ma:readOnly="false" ma:fieldId="{5cf76f15-5ced-4ddc-b409-7134ff3c332f}" ma:taxonomyMulti="true" ma:sspId="8e7e5b6c-b918-456f-bde5-0dbd0052dc3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8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8d8796-6d30-4464-bf9b-797091132d28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6" nillable="true" ma:displayName="Taxonomy Catch All Column" ma:hidden="true" ma:list="{3fb7e90c-9f82-4ab8-9569-ca12180372c3}" ma:internalName="TaxCatchAll" ma:showField="CatchAllData" ma:web="a58d8796-6d30-4464-bf9b-797091132d2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6" ma:displayName="Inhaltstyp"/>
        <xsd:element ref="dc:title" minOccurs="0" maxOccurs="1" ma:index="1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f569348-c938-4593-81cf-7ffc44af308f">
      <Terms xmlns="http://schemas.microsoft.com/office/infopath/2007/PartnerControls"/>
    </lcf76f155ced4ddcb4097134ff3c332f>
    <TaxCatchAll xmlns="a58d8796-6d30-4464-bf9b-797091132d28" xsi:nil="true"/>
    <SharedWithUsers xmlns="a58d8796-6d30-4464-bf9b-797091132d28">
      <UserInfo>
        <DisplayName>Neulinger Juergen 6045 ED</DisplayName>
        <AccountId>96</AccountId>
        <AccountType/>
      </UserInfo>
    </SharedWithUsers>
    <_ip_UnifiedCompliancePolicyUIAction xmlns="http://schemas.microsoft.com/sharepoint/v3" xsi:nil="true"/>
    <_Version xmlns="http://schemas.microsoft.com/sharepoint/v3/fields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5681A262-0656-483C-8C4E-981C003D4100}"/>
</file>

<file path=customXml/itemProps2.xml><?xml version="1.0" encoding="utf-8"?>
<ds:datastoreItem xmlns:ds="http://schemas.openxmlformats.org/officeDocument/2006/customXml" ds:itemID="{5B167B59-7884-4403-B137-A8646DFDAFC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791A28F-4292-42FF-926A-99765FBD53E4}">
  <ds:schemaRefs>
    <ds:schemaRef ds:uri="http://schemas.microsoft.com/office/2006/metadata/properties"/>
    <ds:schemaRef ds:uri="http://www.w3.org/2000/xmlns/"/>
    <ds:schemaRef ds:uri="3f2ea494-9e7b-4b37-be53-fe5055174549"/>
    <ds:schemaRef ds:uri="http://schemas.microsoft.com/office/infopath/2007/PartnerControls"/>
    <ds:schemaRef ds:uri="40daf5e9-50a3-4130-8805-bf8d46cf3572"/>
    <ds:schemaRef ds:uri="http://www.w3.org/2001/XMLSchema-instan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515</Words>
  <Application>Microsoft Office PowerPoint</Application>
  <PresentationFormat>Breitbild</PresentationFormat>
  <Paragraphs>192</Paragraphs>
  <Slides>8</Slides>
  <Notes>2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9" baseType="lpstr">
      <vt:lpstr>Office Theme</vt:lpstr>
      <vt:lpstr>Operations AI Solu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s IT Solution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tabentheiner Erik 6491 ED</dc:creator>
  <cp:lastModifiedBy>Mayer Franz 6045 ED</cp:lastModifiedBy>
  <cp:revision>216</cp:revision>
  <cp:lastPrinted>2023-02-13T09:02:02Z</cp:lastPrinted>
  <dcterms:created xsi:type="dcterms:W3CDTF">2023-01-11T13:22:28Z</dcterms:created>
  <dcterms:modified xsi:type="dcterms:W3CDTF">2023-10-16T10:59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8939b85-7e40-4a1d-91e1-0e84c3b219d7_Enabled">
    <vt:lpwstr>true</vt:lpwstr>
  </property>
  <property fmtid="{D5CDD505-2E9C-101B-9397-08002B2CF9AE}" pid="3" name="MSIP_Label_38939b85-7e40-4a1d-91e1-0e84c3b219d7_SetDate">
    <vt:lpwstr>2022-12-09T11:56:35Z</vt:lpwstr>
  </property>
  <property fmtid="{D5CDD505-2E9C-101B-9397-08002B2CF9AE}" pid="4" name="MSIP_Label_38939b85-7e40-4a1d-91e1-0e84c3b219d7_Method">
    <vt:lpwstr>Standard</vt:lpwstr>
  </property>
  <property fmtid="{D5CDD505-2E9C-101B-9397-08002B2CF9AE}" pid="5" name="MSIP_Label_38939b85-7e40-4a1d-91e1-0e84c3b219d7_Name">
    <vt:lpwstr>38939b85-7e40-4a1d-91e1-0e84c3b219d7</vt:lpwstr>
  </property>
  <property fmtid="{D5CDD505-2E9C-101B-9397-08002B2CF9AE}" pid="6" name="MSIP_Label_38939b85-7e40-4a1d-91e1-0e84c3b219d7_SiteId">
    <vt:lpwstr>3ad0376a-54d3-49a6-9e20-52de0a92fc89</vt:lpwstr>
  </property>
  <property fmtid="{D5CDD505-2E9C-101B-9397-08002B2CF9AE}" pid="7" name="MSIP_Label_38939b85-7e40-4a1d-91e1-0e84c3b219d7_ActionId">
    <vt:lpwstr>59fe67c3-4888-4fdb-b2d3-5c62ae8c36a8</vt:lpwstr>
  </property>
  <property fmtid="{D5CDD505-2E9C-101B-9397-08002B2CF9AE}" pid="8" name="MSIP_Label_38939b85-7e40-4a1d-91e1-0e84c3b219d7_ContentBits">
    <vt:lpwstr>0</vt:lpwstr>
  </property>
  <property fmtid="{D5CDD505-2E9C-101B-9397-08002B2CF9AE}" pid="9" name="ContentTypeId">
    <vt:lpwstr>0x010100FF803BB70EF50C41BB2A5C2635DAF056</vt:lpwstr>
  </property>
  <property fmtid="{D5CDD505-2E9C-101B-9397-08002B2CF9AE}" pid="10" name="MediaServiceImageTags">
    <vt:lpwstr/>
  </property>
</Properties>
</file>